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7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28" r:id="rId5"/>
    <p:sldMasterId id="2147483870" r:id="rId6"/>
    <p:sldMasterId id="2147484069" r:id="rId7"/>
    <p:sldMasterId id="2147484093" r:id="rId8"/>
    <p:sldMasterId id="2147484117" r:id="rId9"/>
  </p:sldMasterIdLst>
  <p:notesMasterIdLst>
    <p:notesMasterId r:id="rId20"/>
  </p:notesMasterIdLst>
  <p:sldIdLst>
    <p:sldId id="2147376736" r:id="rId10"/>
    <p:sldId id="2147475390" r:id="rId11"/>
    <p:sldId id="2147475334" r:id="rId12"/>
    <p:sldId id="2147475332" r:id="rId13"/>
    <p:sldId id="2147474644" r:id="rId14"/>
    <p:sldId id="2147475342" r:id="rId15"/>
    <p:sldId id="2147474620" r:id="rId16"/>
    <p:sldId id="2147475363" r:id="rId17"/>
    <p:sldId id="2147475379" r:id="rId18"/>
    <p:sldId id="2147474776" r:id="rId19"/>
  </p:sldIdLst>
  <p:sldSz cx="12192000" cy="6858000"/>
  <p:notesSz cx="6797675" cy="9926638"/>
  <p:custDataLst>
    <p:tags r:id="rId21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9D4152AB-AE6B-4EF1-B4A9-B773D2E93096}">
          <p14:sldIdLst>
            <p14:sldId id="2147376736"/>
            <p14:sldId id="2147475390"/>
            <p14:sldId id="2147475334"/>
            <p14:sldId id="2147475332"/>
            <p14:sldId id="2147474644"/>
            <p14:sldId id="2147475342"/>
            <p14:sldId id="2147474620"/>
            <p14:sldId id="2147475363"/>
            <p14:sldId id="2147475379"/>
            <p14:sldId id="21474747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7015" userDrawn="1">
          <p15:clr>
            <a:srgbClr val="A4A3A4"/>
          </p15:clr>
        </p15:guide>
        <p15:guide id="3" orient="horz" pos="4224" userDrawn="1">
          <p15:clr>
            <a:srgbClr val="A4A3A4"/>
          </p15:clr>
        </p15:guide>
        <p15:guide id="4" pos="1050" userDrawn="1">
          <p15:clr>
            <a:srgbClr val="A4A3A4"/>
          </p15:clr>
        </p15:guide>
        <p15:guide id="5" orient="horz" pos="8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56FF0D-3CE4-31F5-C295-2F8FECA6F564}" name="Luca Celotto" initials="LC" userId="S::luca.celotto@ambrosetti.eu::1f8d4f4b-de7d-469f-aa32-f20fc87c0a4e" providerId="AD"/>
  <p188:author id="{90BB9F22-EAA4-7707-BAFE-E0431F996059}" name="Francesco Galletti" initials="FG" userId="S::francesco.galletti@ambrosetti.eu::8a021ff1-9065-4113-b463-6d9a8ace14d0" providerId="AD"/>
  <p188:author id="{EE8249BF-71C7-3C9B-CEFF-6085531985B8}" name="Diego Medagli" initials="DM" userId="S::diego.medagli@ambrosetti.eu::b762a0a5-b1c8-4a49-967b-6aa6d0295fd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co Galletti" initials="FG" lastIdx="1" clrIdx="0">
    <p:extLst>
      <p:ext uri="{19B8F6BF-5375-455C-9EA6-DF929625EA0E}">
        <p15:presenceInfo xmlns:p15="http://schemas.microsoft.com/office/powerpoint/2012/main" userId="S::francesco.galletti@ambrosetti.eu::8a021ff1-9065-4113-b463-6d9a8ace14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E60"/>
    <a:srgbClr val="F47B20"/>
    <a:srgbClr val="DAE3F3"/>
    <a:srgbClr val="E4E7ED"/>
    <a:srgbClr val="B7C0B0"/>
    <a:srgbClr val="1FB18E"/>
    <a:srgbClr val="19867E"/>
    <a:srgbClr val="EAE3E4"/>
    <a:srgbClr val="EAE2E7"/>
    <a:srgbClr val="E6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CE429F-B11C-4E27-9CFF-89149C269316}" v="201" dt="2025-06-25T00:47:42.1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749" autoAdjust="0"/>
  </p:normalViewPr>
  <p:slideViewPr>
    <p:cSldViewPr snapToGrid="0">
      <p:cViewPr varScale="1">
        <p:scale>
          <a:sx n="52" d="100"/>
          <a:sy n="52" d="100"/>
        </p:scale>
        <p:origin x="1136" y="52"/>
      </p:cViewPr>
      <p:guideLst>
        <p:guide orient="horz" pos="346"/>
        <p:guide pos="7015"/>
        <p:guide orient="horz" pos="4224"/>
        <p:guide pos="1050"/>
        <p:guide orient="horz" pos="84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2" d="100"/>
          <a:sy n="42" d="100"/>
        </p:scale>
        <p:origin x="2828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o Parma" userId="9f05d00a-e537-49d7-8068-10844eaca034" providerId="ADAL" clId="{B63DB5E5-B7F1-4087-9CE8-FA7F4126B903}"/>
    <pc:docChg chg="undo custSel addSld delSld modSld sldOrd modSection">
      <pc:chgData name="Pio Parma" userId="9f05d00a-e537-49d7-8068-10844eaca034" providerId="ADAL" clId="{B63DB5E5-B7F1-4087-9CE8-FA7F4126B903}" dt="2025-06-24T17:48:00.264" v="1415" actId="478"/>
      <pc:docMkLst>
        <pc:docMk/>
      </pc:docMkLst>
      <pc:sldChg chg="addSp delSp modSp mod">
        <pc:chgData name="Pio Parma" userId="9f05d00a-e537-49d7-8068-10844eaca034" providerId="ADAL" clId="{B63DB5E5-B7F1-4087-9CE8-FA7F4126B903}" dt="2025-06-23T13:34:16.072" v="1319"/>
        <pc:sldMkLst>
          <pc:docMk/>
          <pc:sldMk cId="1723374067" sldId="2147375665"/>
        </pc:sldMkLst>
      </pc:sldChg>
      <pc:sldChg chg="addSp delSp modSp mod">
        <pc:chgData name="Pio Parma" userId="9f05d00a-e537-49d7-8068-10844eaca034" providerId="ADAL" clId="{B63DB5E5-B7F1-4087-9CE8-FA7F4126B903}" dt="2025-06-24T17:48:00.264" v="1415" actId="478"/>
        <pc:sldMkLst>
          <pc:docMk/>
          <pc:sldMk cId="2590303566" sldId="2147376736"/>
        </pc:sldMkLst>
        <pc:spChg chg="add del mod">
          <ac:chgData name="Pio Parma" userId="9f05d00a-e537-49d7-8068-10844eaca034" providerId="ADAL" clId="{B63DB5E5-B7F1-4087-9CE8-FA7F4126B903}" dt="2025-06-24T17:48:00.264" v="1415" actId="478"/>
          <ac:spMkLst>
            <pc:docMk/>
            <pc:sldMk cId="2590303566" sldId="2147376736"/>
            <ac:spMk id="3" creationId="{AF0674E3-BD5D-F462-9F24-911A16D236FC}"/>
          </ac:spMkLst>
        </pc:spChg>
        <pc:spChg chg="mod">
          <ac:chgData name="Pio Parma" userId="9f05d00a-e537-49d7-8068-10844eaca034" providerId="ADAL" clId="{B63DB5E5-B7F1-4087-9CE8-FA7F4126B903}" dt="2025-06-23T12:44:30.264" v="842" actId="404"/>
          <ac:spMkLst>
            <pc:docMk/>
            <pc:sldMk cId="2590303566" sldId="2147376736"/>
            <ac:spMk id="8" creationId="{3CAC02F9-6A35-07CD-375F-65B1BE4A040B}"/>
          </ac:spMkLst>
        </pc:spChg>
      </pc:sldChg>
      <pc:sldChg chg="delSp mod">
        <pc:chgData name="Pio Parma" userId="9f05d00a-e537-49d7-8068-10844eaca034" providerId="ADAL" clId="{B63DB5E5-B7F1-4087-9CE8-FA7F4126B903}" dt="2025-06-23T13:36:22.785" v="1412" actId="478"/>
        <pc:sldMkLst>
          <pc:docMk/>
          <pc:sldMk cId="599624620" sldId="2147376738"/>
        </pc:sldMkLst>
      </pc:sldChg>
      <pc:sldChg chg="modSp mod">
        <pc:chgData name="Pio Parma" userId="9f05d00a-e537-49d7-8068-10844eaca034" providerId="ADAL" clId="{B63DB5E5-B7F1-4087-9CE8-FA7F4126B903}" dt="2025-06-23T13:34:05.618" v="1315" actId="20577"/>
        <pc:sldMkLst>
          <pc:docMk/>
          <pc:sldMk cId="2858390188" sldId="2147472039"/>
        </pc:sldMkLst>
      </pc:sldChg>
      <pc:sldChg chg="delSp mod">
        <pc:chgData name="Pio Parma" userId="9f05d00a-e537-49d7-8068-10844eaca034" providerId="ADAL" clId="{B63DB5E5-B7F1-4087-9CE8-FA7F4126B903}" dt="2025-06-23T13:36:20.994" v="1411" actId="478"/>
        <pc:sldMkLst>
          <pc:docMk/>
          <pc:sldMk cId="1154538665" sldId="2147472228"/>
        </pc:sldMkLst>
      </pc:sldChg>
      <pc:sldChg chg="modSp mod">
        <pc:chgData name="Pio Parma" userId="9f05d00a-e537-49d7-8068-10844eaca034" providerId="ADAL" clId="{B63DB5E5-B7F1-4087-9CE8-FA7F4126B903}" dt="2025-06-23T13:11:53.459" v="1248" actId="2085"/>
        <pc:sldMkLst>
          <pc:docMk/>
          <pc:sldMk cId="4182456349" sldId="2147472254"/>
        </pc:sldMkLst>
      </pc:sldChg>
      <pc:sldChg chg="delSp mod">
        <pc:chgData name="Pio Parma" userId="9f05d00a-e537-49d7-8068-10844eaca034" providerId="ADAL" clId="{B63DB5E5-B7F1-4087-9CE8-FA7F4126B903}" dt="2025-06-23T13:36:24.615" v="1413" actId="478"/>
        <pc:sldMkLst>
          <pc:docMk/>
          <pc:sldMk cId="455048317" sldId="2147472271"/>
        </pc:sldMkLst>
      </pc:sldChg>
      <pc:sldChg chg="ord">
        <pc:chgData name="Pio Parma" userId="9f05d00a-e537-49d7-8068-10844eaca034" providerId="ADAL" clId="{B63DB5E5-B7F1-4087-9CE8-FA7F4126B903}" dt="2025-06-23T13:10:22.213" v="1242" actId="20578"/>
        <pc:sldMkLst>
          <pc:docMk/>
          <pc:sldMk cId="3690000844" sldId="2147472343"/>
        </pc:sldMkLst>
      </pc:sldChg>
      <pc:sldChg chg="modSp mod">
        <pc:chgData name="Pio Parma" userId="9f05d00a-e537-49d7-8068-10844eaca034" providerId="ADAL" clId="{B63DB5E5-B7F1-4087-9CE8-FA7F4126B903}" dt="2025-06-23T12:45:21.661" v="851" actId="20577"/>
        <pc:sldMkLst>
          <pc:docMk/>
          <pc:sldMk cId="2471418935" sldId="2147472349"/>
        </pc:sldMkLst>
      </pc:sldChg>
      <pc:sldChg chg="modSp mod">
        <pc:chgData name="Pio Parma" userId="9f05d00a-e537-49d7-8068-10844eaca034" providerId="ADAL" clId="{B63DB5E5-B7F1-4087-9CE8-FA7F4126B903}" dt="2025-06-23T13:12:35.971" v="1249" actId="20577"/>
        <pc:sldMkLst>
          <pc:docMk/>
          <pc:sldMk cId="636538149" sldId="2147472359"/>
        </pc:sldMkLst>
      </pc:sldChg>
      <pc:sldChg chg="delSp mod">
        <pc:chgData name="Pio Parma" userId="9f05d00a-e537-49d7-8068-10844eaca034" providerId="ADAL" clId="{B63DB5E5-B7F1-4087-9CE8-FA7F4126B903}" dt="2025-06-23T13:36:26.277" v="1414" actId="478"/>
        <pc:sldMkLst>
          <pc:docMk/>
          <pc:sldMk cId="2377423638" sldId="2147472363"/>
        </pc:sldMkLst>
      </pc:sldChg>
      <pc:sldChg chg="addSp delSp modSp mod modNotes">
        <pc:chgData name="Pio Parma" userId="9f05d00a-e537-49d7-8068-10844eaca034" providerId="ADAL" clId="{B63DB5E5-B7F1-4087-9CE8-FA7F4126B903}" dt="2025-06-23T13:34:11.812" v="1317"/>
        <pc:sldMkLst>
          <pc:docMk/>
          <pc:sldMk cId="3078591797" sldId="2147472404"/>
        </pc:sldMkLst>
      </pc:sldChg>
      <pc:sldChg chg="addSp modSp add">
        <pc:chgData name="Pio Parma" userId="9f05d00a-e537-49d7-8068-10844eaca034" providerId="ADAL" clId="{B63DB5E5-B7F1-4087-9CE8-FA7F4126B903}" dt="2025-06-23T13:34:49.209" v="1345"/>
        <pc:sldMkLst>
          <pc:docMk/>
          <pc:sldMk cId="1402534936" sldId="2147472427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2666937351" sldId="2147472427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3947549932" sldId="2147472439"/>
        </pc:sldMkLst>
      </pc:sldChg>
      <pc:sldChg chg="addSp modSp add modNotesTx">
        <pc:chgData name="Pio Parma" userId="9f05d00a-e537-49d7-8068-10844eaca034" providerId="ADAL" clId="{B63DB5E5-B7F1-4087-9CE8-FA7F4126B903}" dt="2025-06-23T13:34:51.154" v="1346"/>
        <pc:sldMkLst>
          <pc:docMk/>
          <pc:sldMk cId="4172678325" sldId="2147472439"/>
        </pc:sldMkLst>
      </pc:sldChg>
      <pc:sldChg chg="addSp modSp add mod">
        <pc:chgData name="Pio Parma" userId="9f05d00a-e537-49d7-8068-10844eaca034" providerId="ADAL" clId="{B63DB5E5-B7F1-4087-9CE8-FA7F4126B903}" dt="2025-06-23T13:34:46.908" v="1344"/>
        <pc:sldMkLst>
          <pc:docMk/>
          <pc:sldMk cId="2201983188" sldId="2147472455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3260725929" sldId="2147472455"/>
        </pc:sldMkLst>
      </pc:sldChg>
      <pc:sldChg chg="addSp delSp modSp mod">
        <pc:chgData name="Pio Parma" userId="9f05d00a-e537-49d7-8068-10844eaca034" providerId="ADAL" clId="{B63DB5E5-B7F1-4087-9CE8-FA7F4126B903}" dt="2025-06-23T13:34:26.838" v="1325"/>
        <pc:sldMkLst>
          <pc:docMk/>
          <pc:sldMk cId="359380087" sldId="2147472467"/>
        </pc:sldMkLst>
      </pc:sldChg>
      <pc:sldChg chg="addSp delSp modSp mod">
        <pc:chgData name="Pio Parma" userId="9f05d00a-e537-49d7-8068-10844eaca034" providerId="ADAL" clId="{B63DB5E5-B7F1-4087-9CE8-FA7F4126B903}" dt="2025-06-23T13:34:30.948" v="1327"/>
        <pc:sldMkLst>
          <pc:docMk/>
          <pc:sldMk cId="1142706462" sldId="2147472468"/>
        </pc:sldMkLst>
      </pc:sldChg>
      <pc:sldChg chg="addSp delSp modSp mod">
        <pc:chgData name="Pio Parma" userId="9f05d00a-e537-49d7-8068-10844eaca034" providerId="ADAL" clId="{B63DB5E5-B7F1-4087-9CE8-FA7F4126B903}" dt="2025-06-23T13:34:34.803" v="1329"/>
        <pc:sldMkLst>
          <pc:docMk/>
          <pc:sldMk cId="4283287526" sldId="2147472566"/>
        </pc:sldMkLst>
      </pc:sldChg>
      <pc:sldChg chg="addSp delSp modSp mod ord">
        <pc:chgData name="Pio Parma" userId="9f05d00a-e537-49d7-8068-10844eaca034" providerId="ADAL" clId="{B63DB5E5-B7F1-4087-9CE8-FA7F4126B903}" dt="2025-06-23T13:34:19.676" v="1321"/>
        <pc:sldMkLst>
          <pc:docMk/>
          <pc:sldMk cId="993144069" sldId="2147472586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765019659" sldId="2147474734"/>
        </pc:sldMkLst>
      </pc:sldChg>
      <pc:sldChg chg="addSp delSp modSp add mod">
        <pc:chgData name="Pio Parma" userId="9f05d00a-e537-49d7-8068-10844eaca034" providerId="ADAL" clId="{B63DB5E5-B7F1-4087-9CE8-FA7F4126B903}" dt="2025-06-23T13:34:44.282" v="1343" actId="1036"/>
        <pc:sldMkLst>
          <pc:docMk/>
          <pc:sldMk cId="3020276720" sldId="2147474734"/>
        </pc:sldMkLst>
      </pc:sldChg>
      <pc:sldChg chg="addSp modSp add mod modNotes">
        <pc:chgData name="Pio Parma" userId="9f05d00a-e537-49d7-8068-10844eaca034" providerId="ADAL" clId="{B63DB5E5-B7F1-4087-9CE8-FA7F4126B903}" dt="2025-06-23T13:34:37.382" v="1330"/>
        <pc:sldMkLst>
          <pc:docMk/>
          <pc:sldMk cId="526873075" sldId="2147474735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2534189817" sldId="2147474735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697909136" sldId="2147474747"/>
        </pc:sldMkLst>
      </pc:sldChg>
      <pc:sldChg chg="addSp modSp add mod">
        <pc:chgData name="Pio Parma" userId="9f05d00a-e537-49d7-8068-10844eaca034" providerId="ADAL" clId="{B63DB5E5-B7F1-4087-9CE8-FA7F4126B903}" dt="2025-06-23T13:34:56.183" v="1348" actId="20577"/>
        <pc:sldMkLst>
          <pc:docMk/>
          <pc:sldMk cId="3078170650" sldId="2147474747"/>
        </pc:sldMkLst>
      </pc:sldChg>
      <pc:sldChg chg="addSp modSp add mod">
        <pc:chgData name="Pio Parma" userId="9f05d00a-e537-49d7-8068-10844eaca034" providerId="ADAL" clId="{B63DB5E5-B7F1-4087-9CE8-FA7F4126B903}" dt="2025-06-23T13:35:11.250" v="1350" actId="20577"/>
        <pc:sldMkLst>
          <pc:docMk/>
          <pc:sldMk cId="220745552" sldId="2147474749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1531023582" sldId="2147474749"/>
        </pc:sldMkLst>
      </pc:sldChg>
      <pc:sldChg chg="addSp modSp add mod">
        <pc:chgData name="Pio Parma" userId="9f05d00a-e537-49d7-8068-10844eaca034" providerId="ADAL" clId="{B63DB5E5-B7F1-4087-9CE8-FA7F4126B903}" dt="2025-06-23T13:36:06.188" v="1409" actId="14100"/>
        <pc:sldMkLst>
          <pc:docMk/>
          <pc:sldMk cId="717741983" sldId="2147474757"/>
        </pc:sldMkLst>
      </pc:sldChg>
      <pc:sldChg chg="del">
        <pc:chgData name="Pio Parma" userId="9f05d00a-e537-49d7-8068-10844eaca034" providerId="ADAL" clId="{B63DB5E5-B7F1-4087-9CE8-FA7F4126B903}" dt="2025-06-23T10:39:25.189" v="68" actId="2696"/>
        <pc:sldMkLst>
          <pc:docMk/>
          <pc:sldMk cId="3903344536" sldId="2147474757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2091942728" sldId="2147475554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3886016487" sldId="2147475559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891261459" sldId="2147475560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1228689251" sldId="2147475562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1957980572" sldId="2147475567"/>
        </pc:sldMkLst>
      </pc:sldChg>
      <pc:sldChg chg="modSp mod">
        <pc:chgData name="Pio Parma" userId="9f05d00a-e537-49d7-8068-10844eaca034" providerId="ADAL" clId="{B63DB5E5-B7F1-4087-9CE8-FA7F4126B903}" dt="2025-06-23T13:01:40.166" v="1049" actId="1037"/>
        <pc:sldMkLst>
          <pc:docMk/>
          <pc:sldMk cId="3273693058" sldId="2147475569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3958190380" sldId="2147475594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2833256230" sldId="2147475603"/>
        </pc:sldMkLst>
      </pc:sldChg>
      <pc:sldChg chg="delSp mod">
        <pc:chgData name="Pio Parma" userId="9f05d00a-e537-49d7-8068-10844eaca034" providerId="ADAL" clId="{B63DB5E5-B7F1-4087-9CE8-FA7F4126B903}" dt="2025-06-23T13:36:14.493" v="1410" actId="478"/>
        <pc:sldMkLst>
          <pc:docMk/>
          <pc:sldMk cId="3474545170" sldId="2147476848"/>
        </pc:sldMkLst>
      </pc:sldChg>
      <pc:sldChg chg="modSp mod">
        <pc:chgData name="Pio Parma" userId="9f05d00a-e537-49d7-8068-10844eaca034" providerId="ADAL" clId="{B63DB5E5-B7F1-4087-9CE8-FA7F4126B903}" dt="2025-06-23T13:10:43.417" v="1244" actId="12"/>
        <pc:sldMkLst>
          <pc:docMk/>
          <pc:sldMk cId="140630364" sldId="2147476975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4231662902" sldId="2147476978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1227026058" sldId="2147483571"/>
        </pc:sldMkLst>
      </pc:sldChg>
      <pc:sldChg chg="modSp mod">
        <pc:chgData name="Pio Parma" userId="9f05d00a-e537-49d7-8068-10844eaca034" providerId="ADAL" clId="{B63DB5E5-B7F1-4087-9CE8-FA7F4126B903}" dt="2025-06-23T13:05:58.612" v="1214" actId="113"/>
        <pc:sldMkLst>
          <pc:docMk/>
          <pc:sldMk cId="1412662126" sldId="2147483579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2008002976" sldId="2147483587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2074570712" sldId="2147483588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3741841095" sldId="2147483589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3233059704" sldId="2147483590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4046317273" sldId="2147483594"/>
        </pc:sldMkLst>
      </pc:sldChg>
      <pc:sldChg chg="modSp mod">
        <pc:chgData name="Pio Parma" userId="9f05d00a-e537-49d7-8068-10844eaca034" providerId="ADAL" clId="{B63DB5E5-B7F1-4087-9CE8-FA7F4126B903}" dt="2025-06-23T13:09:26.395" v="1217" actId="14100"/>
        <pc:sldMkLst>
          <pc:docMk/>
          <pc:sldMk cId="1856985895" sldId="2147483595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374715395" sldId="2147483596"/>
        </pc:sldMkLst>
      </pc:sldChg>
      <pc:sldChg chg="modSp mod">
        <pc:chgData name="Pio Parma" userId="9f05d00a-e537-49d7-8068-10844eaca034" providerId="ADAL" clId="{B63DB5E5-B7F1-4087-9CE8-FA7F4126B903}" dt="2025-06-23T13:10:31.322" v="1243"/>
        <pc:sldMkLst>
          <pc:docMk/>
          <pc:sldMk cId="482727967" sldId="2147483603"/>
        </pc:sldMkLst>
      </pc:sldChg>
      <pc:sldChg chg="del">
        <pc:chgData name="Pio Parma" userId="9f05d00a-e537-49d7-8068-10844eaca034" providerId="ADAL" clId="{B63DB5E5-B7F1-4087-9CE8-FA7F4126B903}" dt="2025-06-23T10:32:46.934" v="13" actId="47"/>
        <pc:sldMkLst>
          <pc:docMk/>
          <pc:sldMk cId="2244534018" sldId="2147483608"/>
        </pc:sldMkLst>
      </pc:sldChg>
      <pc:sldChg chg="del">
        <pc:chgData name="Pio Parma" userId="9f05d00a-e537-49d7-8068-10844eaca034" providerId="ADAL" clId="{B63DB5E5-B7F1-4087-9CE8-FA7F4126B903}" dt="2025-06-23T10:34:15.687" v="43" actId="47"/>
        <pc:sldMkLst>
          <pc:docMk/>
          <pc:sldMk cId="2217117567" sldId="2147483609"/>
        </pc:sldMkLst>
      </pc:sldChg>
      <pc:sldChg chg="del">
        <pc:chgData name="Pio Parma" userId="9f05d00a-e537-49d7-8068-10844eaca034" providerId="ADAL" clId="{B63DB5E5-B7F1-4087-9CE8-FA7F4126B903}" dt="2025-06-23T10:38:40.509" v="58" actId="47"/>
        <pc:sldMkLst>
          <pc:docMk/>
          <pc:sldMk cId="1182021455" sldId="2147483610"/>
        </pc:sldMkLst>
      </pc:sldChg>
      <pc:sldChg chg="del">
        <pc:chgData name="Pio Parma" userId="9f05d00a-e537-49d7-8068-10844eaca034" providerId="ADAL" clId="{B63DB5E5-B7F1-4087-9CE8-FA7F4126B903}" dt="2025-06-23T10:38:53.584" v="60" actId="47"/>
        <pc:sldMkLst>
          <pc:docMk/>
          <pc:sldMk cId="1364321502" sldId="2147483611"/>
        </pc:sldMkLst>
      </pc:sldChg>
      <pc:sldChg chg="del">
        <pc:chgData name="Pio Parma" userId="9f05d00a-e537-49d7-8068-10844eaca034" providerId="ADAL" clId="{B63DB5E5-B7F1-4087-9CE8-FA7F4126B903}" dt="2025-06-23T10:39:19.640" v="67" actId="47"/>
        <pc:sldMkLst>
          <pc:docMk/>
          <pc:sldMk cId="1914368065" sldId="2147483612"/>
        </pc:sldMkLst>
      </pc:sldChg>
      <pc:sldChg chg="del">
        <pc:chgData name="Pio Parma" userId="9f05d00a-e537-49d7-8068-10844eaca034" providerId="ADAL" clId="{B63DB5E5-B7F1-4087-9CE8-FA7F4126B903}" dt="2025-06-23T10:35:04.685" v="51" actId="47"/>
        <pc:sldMkLst>
          <pc:docMk/>
          <pc:sldMk cId="1574848911" sldId="2147483613"/>
        </pc:sldMkLst>
      </pc:sldChg>
      <pc:sldChg chg="modSp add mod">
        <pc:chgData name="Pio Parma" userId="9f05d00a-e537-49d7-8068-10844eaca034" providerId="ADAL" clId="{B63DB5E5-B7F1-4087-9CE8-FA7F4126B903}" dt="2025-06-23T10:34:40.044" v="49" actId="403"/>
        <pc:sldMkLst>
          <pc:docMk/>
          <pc:sldMk cId="3554228558" sldId="2147483614"/>
        </pc:sldMkLst>
      </pc:sldChg>
      <pc:sldChg chg="modSp add mod">
        <pc:chgData name="Pio Parma" userId="9f05d00a-e537-49d7-8068-10844eaca034" providerId="ADAL" clId="{B63DB5E5-B7F1-4087-9CE8-FA7F4126B903}" dt="2025-06-23T13:10:11.125" v="1239" actId="20577"/>
        <pc:sldMkLst>
          <pc:docMk/>
          <pc:sldMk cId="3006544109" sldId="2147483615"/>
        </pc:sldMkLst>
      </pc:sldChg>
      <pc:sldChg chg="modSp add mod">
        <pc:chgData name="Pio Parma" userId="9f05d00a-e537-49d7-8068-10844eaca034" providerId="ADAL" clId="{B63DB5E5-B7F1-4087-9CE8-FA7F4126B903}" dt="2025-06-23T13:11:02.416" v="1245"/>
        <pc:sldMkLst>
          <pc:docMk/>
          <pc:sldMk cId="875772413" sldId="2147483616"/>
        </pc:sldMkLst>
      </pc:sldChg>
      <pc:sldChg chg="modSp add mod">
        <pc:chgData name="Pio Parma" userId="9f05d00a-e537-49d7-8068-10844eaca034" providerId="ADAL" clId="{B63DB5E5-B7F1-4087-9CE8-FA7F4126B903}" dt="2025-06-23T13:11:24.907" v="1246"/>
        <pc:sldMkLst>
          <pc:docMk/>
          <pc:sldMk cId="4114105445" sldId="2147483617"/>
        </pc:sldMkLst>
      </pc:sldChg>
      <pc:sldChg chg="addSp delSp modSp add mod modNotesTx">
        <pc:chgData name="Pio Parma" userId="9f05d00a-e537-49d7-8068-10844eaca034" providerId="ADAL" clId="{B63DB5E5-B7F1-4087-9CE8-FA7F4126B903}" dt="2025-06-23T13:34:23.138" v="1323"/>
        <pc:sldMkLst>
          <pc:docMk/>
          <pc:sldMk cId="131038984" sldId="2147483618"/>
        </pc:sldMkLst>
      </pc:sldChg>
      <pc:sldChg chg="addSp delSp modSp add mod ord">
        <pc:chgData name="Pio Parma" userId="9f05d00a-e537-49d7-8068-10844eaca034" providerId="ADAL" clId="{B63DB5E5-B7F1-4087-9CE8-FA7F4126B903}" dt="2025-06-23T13:05:39.044" v="1213" actId="20577"/>
        <pc:sldMkLst>
          <pc:docMk/>
          <pc:sldMk cId="189845450" sldId="2147483619"/>
        </pc:sldMkLst>
      </pc:sldChg>
      <pc:sldChg chg="add del">
        <pc:chgData name="Pio Parma" userId="9f05d00a-e537-49d7-8068-10844eaca034" providerId="ADAL" clId="{B63DB5E5-B7F1-4087-9CE8-FA7F4126B903}" dt="2025-06-23T13:01:02.043" v="1018"/>
        <pc:sldMkLst>
          <pc:docMk/>
          <pc:sldMk cId="3725410822" sldId="2147483620"/>
        </pc:sldMkLst>
      </pc:sldChg>
      <pc:sldMasterChg chg="delSldLayout">
        <pc:chgData name="Pio Parma" userId="9f05d00a-e537-49d7-8068-10844eaca034" providerId="ADAL" clId="{B63DB5E5-B7F1-4087-9CE8-FA7F4126B903}" dt="2025-06-23T10:39:25.189" v="68" actId="2696"/>
        <pc:sldMasterMkLst>
          <pc:docMk/>
          <pc:sldMasterMk cId="2584381504" sldId="2147484069"/>
        </pc:sldMasterMkLst>
        <pc:sldLayoutChg chg="del">
          <pc:chgData name="Pio Parma" userId="9f05d00a-e537-49d7-8068-10844eaca034" providerId="ADAL" clId="{B63DB5E5-B7F1-4087-9CE8-FA7F4126B903}" dt="2025-06-23T10:39:25.189" v="68" actId="2696"/>
          <pc:sldLayoutMkLst>
            <pc:docMk/>
            <pc:sldMasterMk cId="2584381504" sldId="2147484069"/>
            <pc:sldLayoutMk cId="2499355713" sldId="2147484120"/>
          </pc:sldLayoutMkLst>
        </pc:sldLayoutChg>
        <pc:sldLayoutChg chg="del">
          <pc:chgData name="Pio Parma" userId="9f05d00a-e537-49d7-8068-10844eaca034" providerId="ADAL" clId="{B63DB5E5-B7F1-4087-9CE8-FA7F4126B903}" dt="2025-06-23T10:39:25.189" v="68" actId="2696"/>
          <pc:sldLayoutMkLst>
            <pc:docMk/>
            <pc:sldMasterMk cId="2584381504" sldId="2147484069"/>
            <pc:sldLayoutMk cId="3191771264" sldId="2147484121"/>
          </pc:sldLayoutMkLst>
        </pc:sldLayoutChg>
      </pc:sldMasterChg>
    </pc:docChg>
  </pc:docChgLst>
  <pc:docChgLst>
    <pc:chgData name="Pio Parma" userId="9f05d00a-e537-49d7-8068-10844eaca034" providerId="ADAL" clId="{C1CE429F-B11C-4E27-9CFF-89149C269316}"/>
    <pc:docChg chg="undo custSel addSld delSld modSld modMainMaster modSection">
      <pc:chgData name="Pio Parma" userId="9f05d00a-e537-49d7-8068-10844eaca034" providerId="ADAL" clId="{C1CE429F-B11C-4E27-9CFF-89149C269316}" dt="2025-06-25T00:47:55.288" v="1994" actId="1036"/>
      <pc:docMkLst>
        <pc:docMk/>
      </pc:docMkLst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695651586" sldId="3420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282100996" sldId="4920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723374067" sldId="214737566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843233418" sldId="214737582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626902929" sldId="214737646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247733769" sldId="2147376465"/>
        </pc:sldMkLst>
      </pc:sldChg>
      <pc:sldChg chg="addSp delSp modSp mod">
        <pc:chgData name="Pio Parma" userId="9f05d00a-e537-49d7-8068-10844eaca034" providerId="ADAL" clId="{C1CE429F-B11C-4E27-9CFF-89149C269316}" dt="2025-06-25T00:47:42.164" v="1989"/>
        <pc:sldMkLst>
          <pc:docMk/>
          <pc:sldMk cId="2590303566" sldId="2147376736"/>
        </pc:sldMkLst>
        <pc:spChg chg="mod">
          <ac:chgData name="Pio Parma" userId="9f05d00a-e537-49d7-8068-10844eaca034" providerId="ADAL" clId="{C1CE429F-B11C-4E27-9CFF-89149C269316}" dt="2025-06-25T00:47:42.164" v="1989"/>
          <ac:spMkLst>
            <pc:docMk/>
            <pc:sldMk cId="2590303566" sldId="2147376736"/>
            <ac:spMk id="8" creationId="{3CAC02F9-6A35-07CD-375F-65B1BE4A040B}"/>
          </ac:spMkLst>
        </pc:spChg>
        <pc:picChg chg="add mod modCrop">
          <ac:chgData name="Pio Parma" userId="9f05d00a-e537-49d7-8068-10844eaca034" providerId="ADAL" clId="{C1CE429F-B11C-4E27-9CFF-89149C269316}" dt="2025-06-24T22:24:19.485" v="147" actId="1036"/>
          <ac:picMkLst>
            <pc:docMk/>
            <pc:sldMk cId="2590303566" sldId="2147376736"/>
            <ac:picMk id="4" creationId="{624FAAEB-D3F7-B5A0-DA90-1DD72CF8E0FE}"/>
          </ac:picMkLst>
        </pc:picChg>
        <pc:picChg chg="add del mod">
          <ac:chgData name="Pio Parma" userId="9f05d00a-e537-49d7-8068-10844eaca034" providerId="ADAL" clId="{C1CE429F-B11C-4E27-9CFF-89149C269316}" dt="2025-06-24T22:46:48.353" v="797" actId="478"/>
          <ac:picMkLst>
            <pc:docMk/>
            <pc:sldMk cId="2590303566" sldId="2147376736"/>
            <ac:picMk id="7" creationId="{46FF775A-4722-5CA0-C2AF-30A09320FFA7}"/>
          </ac:picMkLst>
        </pc:picChg>
        <pc:picChg chg="add del mod modCrop">
          <ac:chgData name="Pio Parma" userId="9f05d00a-e537-49d7-8068-10844eaca034" providerId="ADAL" clId="{C1CE429F-B11C-4E27-9CFF-89149C269316}" dt="2025-06-24T22:48:26.784" v="854" actId="478"/>
          <ac:picMkLst>
            <pc:docMk/>
            <pc:sldMk cId="2590303566" sldId="2147376736"/>
            <ac:picMk id="10" creationId="{B79ACDEC-7DBD-4F3E-9913-898BA0F23443}"/>
          </ac:picMkLst>
        </pc:picChg>
        <pc:picChg chg="del">
          <ac:chgData name="Pio Parma" userId="9f05d00a-e537-49d7-8068-10844eaca034" providerId="ADAL" clId="{C1CE429F-B11C-4E27-9CFF-89149C269316}" dt="2025-06-24T22:20:49.754" v="0" actId="478"/>
          <ac:picMkLst>
            <pc:docMk/>
            <pc:sldMk cId="2590303566" sldId="2147376736"/>
            <ac:picMk id="21" creationId="{9E47A056-8E59-456E-9105-6A85DF78262F}"/>
          </ac:picMkLst>
        </pc:picChg>
        <pc:picChg chg="del">
          <ac:chgData name="Pio Parma" userId="9f05d00a-e537-49d7-8068-10844eaca034" providerId="ADAL" clId="{C1CE429F-B11C-4E27-9CFF-89149C269316}" dt="2025-06-24T22:21:16.208" v="1" actId="478"/>
          <ac:picMkLst>
            <pc:docMk/>
            <pc:sldMk cId="2590303566" sldId="2147376736"/>
            <ac:picMk id="29" creationId="{E8B9141B-261E-BDA5-8FEF-0BBED522EB35}"/>
          </ac:picMkLst>
        </pc:picChg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599624620" sldId="214737673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426583101" sldId="214747160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858390188" sldId="214747203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85376976" sldId="214747220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154538665" sldId="214747222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182456349" sldId="214747225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7356205" sldId="214747226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55048317" sldId="2147472271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515441117" sldId="214747231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690000844" sldId="214747234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933243154" sldId="214747234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471418935" sldId="214747234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636538149" sldId="214747235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377423638" sldId="214747236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610989620" sldId="214747239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078591797" sldId="214747240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402534936" sldId="214747242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011907902" sldId="2147472430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172678325" sldId="214747243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201983188" sldId="214747245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59380087" sldId="214747246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142706462" sldId="214747246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283287526" sldId="2147472566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993144069" sldId="2147472586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733879885" sldId="2147474192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469178136" sldId="2147474211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980887097" sldId="214747422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508278478" sldId="214747423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468606266" sldId="2147474250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372711674" sldId="214747425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013179326" sldId="214747425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14085202" sldId="214747433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711674008" sldId="214747433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115754565" sldId="2147474339"/>
        </pc:sldMkLst>
      </pc:sldChg>
      <pc:sldChg chg="delSp modSp add mod modNotes">
        <pc:chgData name="Pio Parma" userId="9f05d00a-e537-49d7-8068-10844eaca034" providerId="ADAL" clId="{C1CE429F-B11C-4E27-9CFF-89149C269316}" dt="2025-06-24T23:29:43.245" v="1883" actId="20577"/>
        <pc:sldMkLst>
          <pc:docMk/>
          <pc:sldMk cId="1942777628" sldId="2147474620"/>
        </pc:sldMkLst>
        <pc:spChg chg="del">
          <ac:chgData name="Pio Parma" userId="9f05d00a-e537-49d7-8068-10844eaca034" providerId="ADAL" clId="{C1CE429F-B11C-4E27-9CFF-89149C269316}" dt="2025-06-24T22:38:46.777" v="481" actId="478"/>
          <ac:spMkLst>
            <pc:docMk/>
            <pc:sldMk cId="1942777628" sldId="2147474620"/>
            <ac:spMk id="4" creationId="{70CE533D-9722-2AA9-9B26-597B384DB413}"/>
          </ac:spMkLst>
        </pc:spChg>
        <pc:spChg chg="mod">
          <ac:chgData name="Pio Parma" userId="9f05d00a-e537-49d7-8068-10844eaca034" providerId="ADAL" clId="{C1CE429F-B11C-4E27-9CFF-89149C269316}" dt="2025-06-24T23:29:43.245" v="1883" actId="20577"/>
          <ac:spMkLst>
            <pc:docMk/>
            <pc:sldMk cId="1942777628" sldId="2147474620"/>
            <ac:spMk id="5" creationId="{9EEF2984-D2BE-D2AD-D9AB-67D543330C61}"/>
          </ac:spMkLst>
        </pc:spChg>
        <pc:spChg chg="mod">
          <ac:chgData name="Pio Parma" userId="9f05d00a-e537-49d7-8068-10844eaca034" providerId="ADAL" clId="{C1CE429F-B11C-4E27-9CFF-89149C269316}" dt="2025-06-24T22:51:49.879" v="908" actId="1038"/>
          <ac:spMkLst>
            <pc:docMk/>
            <pc:sldMk cId="1942777628" sldId="2147474620"/>
            <ac:spMk id="7" creationId="{9CA94DE4-FB20-DFD7-60B9-848512D4A9E6}"/>
          </ac:spMkLst>
        </pc:spChg>
        <pc:spChg chg="mod">
          <ac:chgData name="Pio Parma" userId="9f05d00a-e537-49d7-8068-10844eaca034" providerId="ADAL" clId="{C1CE429F-B11C-4E27-9CFF-89149C269316}" dt="2025-06-24T23:03:31.105" v="1189" actId="948"/>
          <ac:spMkLst>
            <pc:docMk/>
            <pc:sldMk cId="1942777628" sldId="2147474620"/>
            <ac:spMk id="12" creationId="{2340D7B0-C6D8-7DDB-5E1D-9D6FA2F63BF8}"/>
          </ac:spMkLst>
        </pc:spChg>
      </pc:sldChg>
      <pc:sldChg chg="delSp modSp add mod">
        <pc:chgData name="Pio Parma" userId="9f05d00a-e537-49d7-8068-10844eaca034" providerId="ADAL" clId="{C1CE429F-B11C-4E27-9CFF-89149C269316}" dt="2025-06-24T23:29:07.700" v="1853" actId="1038"/>
        <pc:sldMkLst>
          <pc:docMk/>
          <pc:sldMk cId="3150383220" sldId="2147474644"/>
        </pc:sldMkLst>
        <pc:spChg chg="mod">
          <ac:chgData name="Pio Parma" userId="9f05d00a-e537-49d7-8068-10844eaca034" providerId="ADAL" clId="{C1CE429F-B11C-4E27-9CFF-89149C269316}" dt="2025-06-24T22:51:40.748" v="898" actId="1035"/>
          <ac:spMkLst>
            <pc:docMk/>
            <pc:sldMk cId="3150383220" sldId="2147474644"/>
            <ac:spMk id="4" creationId="{D3833F0D-3A4E-5799-8896-89CCC5BC1F25}"/>
          </ac:spMkLst>
        </pc:spChg>
        <pc:spChg chg="del">
          <ac:chgData name="Pio Parma" userId="9f05d00a-e537-49d7-8068-10844eaca034" providerId="ADAL" clId="{C1CE429F-B11C-4E27-9CFF-89149C269316}" dt="2025-06-24T22:34:56.114" v="391" actId="478"/>
          <ac:spMkLst>
            <pc:docMk/>
            <pc:sldMk cId="3150383220" sldId="2147474644"/>
            <ac:spMk id="12" creationId="{5BC211F5-DF50-3270-4EF6-377E060B2194}"/>
          </ac:spMkLst>
        </pc:spChg>
        <pc:spChg chg="mod">
          <ac:chgData name="Pio Parma" userId="9f05d00a-e537-49d7-8068-10844eaca034" providerId="ADAL" clId="{C1CE429F-B11C-4E27-9CFF-89149C269316}" dt="2025-06-24T23:29:07.700" v="1853" actId="1038"/>
          <ac:spMkLst>
            <pc:docMk/>
            <pc:sldMk cId="3150383220" sldId="2147474644"/>
            <ac:spMk id="17" creationId="{BD9DEFF3-1C94-A82C-8FB6-6F012F05F544}"/>
          </ac:spMkLst>
        </pc:spChg>
        <pc:cxnChg chg="mod">
          <ac:chgData name="Pio Parma" userId="9f05d00a-e537-49d7-8068-10844eaca034" providerId="ADAL" clId="{C1CE429F-B11C-4E27-9CFF-89149C269316}" dt="2025-06-24T23:28:22.110" v="1824" actId="1037"/>
          <ac:cxnSpMkLst>
            <pc:docMk/>
            <pc:sldMk cId="3150383220" sldId="2147474644"/>
            <ac:cxnSpMk id="11" creationId="{54AD305E-C14D-3D0B-5E4B-97F87BC5B79B}"/>
          </ac:cxnSpMkLst>
        </pc:cxnChg>
      </pc:sldChg>
      <pc:sldChg chg="del">
        <pc:chgData name="Pio Parma" userId="9f05d00a-e537-49d7-8068-10844eaca034" providerId="ADAL" clId="{C1CE429F-B11C-4E27-9CFF-89149C269316}" dt="2025-06-24T22:44:39.509" v="744" actId="47"/>
        <pc:sldMkLst>
          <pc:docMk/>
          <pc:sldMk cId="214524993" sldId="2147474664"/>
        </pc:sldMkLst>
      </pc:sldChg>
      <pc:sldChg chg="add del">
        <pc:chgData name="Pio Parma" userId="9f05d00a-e537-49d7-8068-10844eaca034" providerId="ADAL" clId="{C1CE429F-B11C-4E27-9CFF-89149C269316}" dt="2025-06-24T22:34:37.105" v="389" actId="47"/>
        <pc:sldMkLst>
          <pc:docMk/>
          <pc:sldMk cId="3144344138" sldId="214747469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020276720" sldId="214747473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526873075" sldId="214747473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078170650" sldId="214747474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20745552" sldId="214747474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717741983" sldId="2147474757"/>
        </pc:sldMkLst>
      </pc:sldChg>
      <pc:sldChg chg="modSp mod">
        <pc:chgData name="Pio Parma" userId="9f05d00a-e537-49d7-8068-10844eaca034" providerId="ADAL" clId="{C1CE429F-B11C-4E27-9CFF-89149C269316}" dt="2025-06-24T23:31:24.721" v="1965" actId="20577"/>
        <pc:sldMkLst>
          <pc:docMk/>
          <pc:sldMk cId="2955664290" sldId="2147474776"/>
        </pc:sldMkLst>
        <pc:spChg chg="mod">
          <ac:chgData name="Pio Parma" userId="9f05d00a-e537-49d7-8068-10844eaca034" providerId="ADAL" clId="{C1CE429F-B11C-4E27-9CFF-89149C269316}" dt="2025-06-24T23:31:14.388" v="1963" actId="1035"/>
          <ac:spMkLst>
            <pc:docMk/>
            <pc:sldMk cId="2955664290" sldId="2147474776"/>
            <ac:spMk id="4" creationId="{EDC028A8-7FF6-2FDB-3050-2898FA9673B4}"/>
          </ac:spMkLst>
        </pc:spChg>
        <pc:spChg chg="mod">
          <ac:chgData name="Pio Parma" userId="9f05d00a-e537-49d7-8068-10844eaca034" providerId="ADAL" clId="{C1CE429F-B11C-4E27-9CFF-89149C269316}" dt="2025-06-24T23:31:17.884" v="1964" actId="207"/>
          <ac:spMkLst>
            <pc:docMk/>
            <pc:sldMk cId="2955664290" sldId="2147474776"/>
            <ac:spMk id="7" creationId="{DD77966F-2C50-AA10-023A-D964ABA41556}"/>
          </ac:spMkLst>
        </pc:spChg>
        <pc:spChg chg="mod">
          <ac:chgData name="Pio Parma" userId="9f05d00a-e537-49d7-8068-10844eaca034" providerId="ADAL" clId="{C1CE429F-B11C-4E27-9CFF-89149C269316}" dt="2025-06-24T23:31:24.721" v="1965" actId="20577"/>
          <ac:spMkLst>
            <pc:docMk/>
            <pc:sldMk cId="2955664290" sldId="2147474776"/>
            <ac:spMk id="10" creationId="{237A5957-1F6B-8DA2-A616-016719109402}"/>
          </ac:spMkLst>
        </pc:spChg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2163081912" sldId="2147475302"/>
        </pc:sldMkLst>
      </pc:sldChg>
      <pc:sldChg chg="add del">
        <pc:chgData name="Pio Parma" userId="9f05d00a-e537-49d7-8068-10844eaca034" providerId="ADAL" clId="{C1CE429F-B11C-4E27-9CFF-89149C269316}" dt="2025-06-24T22:34:37.105" v="389" actId="47"/>
        <pc:sldMkLst>
          <pc:docMk/>
          <pc:sldMk cId="398167957" sldId="2147475313"/>
        </pc:sldMkLst>
      </pc:sldChg>
      <pc:sldChg chg="addSp delSp modSp add del mod">
        <pc:chgData name="Pio Parma" userId="9f05d00a-e537-49d7-8068-10844eaca034" providerId="ADAL" clId="{C1CE429F-B11C-4E27-9CFF-89149C269316}" dt="2025-06-24T23:27:19.273" v="1817" actId="2085"/>
        <pc:sldMkLst>
          <pc:docMk/>
          <pc:sldMk cId="2590015044" sldId="2147475332"/>
        </pc:sldMkLst>
        <pc:spChg chg="mod">
          <ac:chgData name="Pio Parma" userId="9f05d00a-e537-49d7-8068-10844eaca034" providerId="ADAL" clId="{C1CE429F-B11C-4E27-9CFF-89149C269316}" dt="2025-06-24T22:51:36.665" v="894" actId="1035"/>
          <ac:spMkLst>
            <pc:docMk/>
            <pc:sldMk cId="2590015044" sldId="2147475332"/>
            <ac:spMk id="13" creationId="{01C7582D-DC0D-E80B-2EC8-5A2D3CCA1AD0}"/>
          </ac:spMkLst>
        </pc:spChg>
        <pc:spChg chg="del">
          <ac:chgData name="Pio Parma" userId="9f05d00a-e537-49d7-8068-10844eaca034" providerId="ADAL" clId="{C1CE429F-B11C-4E27-9CFF-89149C269316}" dt="2025-06-24T22:33:24.331" v="379" actId="478"/>
          <ac:spMkLst>
            <pc:docMk/>
            <pc:sldMk cId="2590015044" sldId="2147475332"/>
            <ac:spMk id="14" creationId="{DDD4078E-1694-9AD1-552F-82DD619E5285}"/>
          </ac:spMkLst>
        </pc:spChg>
        <pc:spChg chg="del mod topLvl">
          <ac:chgData name="Pio Parma" userId="9f05d00a-e537-49d7-8068-10844eaca034" providerId="ADAL" clId="{C1CE429F-B11C-4E27-9CFF-89149C269316}" dt="2025-06-24T23:18:44.156" v="1521" actId="478"/>
          <ac:spMkLst>
            <pc:docMk/>
            <pc:sldMk cId="2590015044" sldId="2147475332"/>
            <ac:spMk id="19" creationId="{2970FDA0-614F-9F5D-A968-0EEFA15FBB84}"/>
          </ac:spMkLst>
        </pc:spChg>
        <pc:spChg chg="mod topLvl">
          <ac:chgData name="Pio Parma" userId="9f05d00a-e537-49d7-8068-10844eaca034" providerId="ADAL" clId="{C1CE429F-B11C-4E27-9CFF-89149C269316}" dt="2025-06-24T23:27:06.952" v="1816" actId="20577"/>
          <ac:spMkLst>
            <pc:docMk/>
            <pc:sldMk cId="2590015044" sldId="2147475332"/>
            <ac:spMk id="20" creationId="{5D2C342C-2C2F-D581-8FCA-A50E8F3E1589}"/>
          </ac:spMkLst>
        </pc:spChg>
        <pc:spChg chg="mod">
          <ac:chgData name="Pio Parma" userId="9f05d00a-e537-49d7-8068-10844eaca034" providerId="ADAL" clId="{C1CE429F-B11C-4E27-9CFF-89149C269316}" dt="2025-06-24T23:19:45.829" v="1588" actId="165"/>
          <ac:spMkLst>
            <pc:docMk/>
            <pc:sldMk cId="2590015044" sldId="2147475332"/>
            <ac:spMk id="23" creationId="{675D96BB-0DA7-6B9D-E8D5-F02AE88FE1C8}"/>
          </ac:spMkLst>
        </pc:spChg>
        <pc:spChg chg="mod topLvl">
          <ac:chgData name="Pio Parma" userId="9f05d00a-e537-49d7-8068-10844eaca034" providerId="ADAL" clId="{C1CE429F-B11C-4E27-9CFF-89149C269316}" dt="2025-06-24T23:18:36.448" v="1519" actId="165"/>
          <ac:spMkLst>
            <pc:docMk/>
            <pc:sldMk cId="2590015044" sldId="2147475332"/>
            <ac:spMk id="27" creationId="{A4E7F0F8-716F-3F01-71C7-065AA536B061}"/>
          </ac:spMkLst>
        </pc:spChg>
        <pc:spChg chg="mod ord topLvl">
          <ac:chgData name="Pio Parma" userId="9f05d00a-e537-49d7-8068-10844eaca034" providerId="ADAL" clId="{C1CE429F-B11C-4E27-9CFF-89149C269316}" dt="2025-06-24T23:20:52.691" v="1639" actId="167"/>
          <ac:spMkLst>
            <pc:docMk/>
            <pc:sldMk cId="2590015044" sldId="2147475332"/>
            <ac:spMk id="28" creationId="{280340FB-BE8E-2618-F509-8FCBA5385F82}"/>
          </ac:spMkLst>
        </pc:spChg>
        <pc:spChg chg="mod">
          <ac:chgData name="Pio Parma" userId="9f05d00a-e537-49d7-8068-10844eaca034" providerId="ADAL" clId="{C1CE429F-B11C-4E27-9CFF-89149C269316}" dt="2025-06-24T23:27:19.273" v="1817" actId="2085"/>
          <ac:spMkLst>
            <pc:docMk/>
            <pc:sldMk cId="2590015044" sldId="2147475332"/>
            <ac:spMk id="29" creationId="{398283DE-D194-14FD-F93F-4C2059BB0A4E}"/>
          </ac:spMkLst>
        </pc:spChg>
        <pc:spChg chg="mod">
          <ac:chgData name="Pio Parma" userId="9f05d00a-e537-49d7-8068-10844eaca034" providerId="ADAL" clId="{C1CE429F-B11C-4E27-9CFF-89149C269316}" dt="2025-06-24T23:19:45.829" v="1588" actId="165"/>
          <ac:spMkLst>
            <pc:docMk/>
            <pc:sldMk cId="2590015044" sldId="2147475332"/>
            <ac:spMk id="34" creationId="{61C17735-FA7A-F9E4-E262-0B5ACD860B64}"/>
          </ac:spMkLst>
        </pc:spChg>
        <pc:spChg chg="mod">
          <ac:chgData name="Pio Parma" userId="9f05d00a-e537-49d7-8068-10844eaca034" providerId="ADAL" clId="{C1CE429F-B11C-4E27-9CFF-89149C269316}" dt="2025-06-24T23:19:45.829" v="1588" actId="165"/>
          <ac:spMkLst>
            <pc:docMk/>
            <pc:sldMk cId="2590015044" sldId="2147475332"/>
            <ac:spMk id="36" creationId="{2F01D3F5-90F0-D70D-C3CD-0A38B14D46B1}"/>
          </ac:spMkLst>
        </pc:spChg>
        <pc:spChg chg="mod">
          <ac:chgData name="Pio Parma" userId="9f05d00a-e537-49d7-8068-10844eaca034" providerId="ADAL" clId="{C1CE429F-B11C-4E27-9CFF-89149C269316}" dt="2025-06-24T23:19:45.829" v="1588" actId="165"/>
          <ac:spMkLst>
            <pc:docMk/>
            <pc:sldMk cId="2590015044" sldId="2147475332"/>
            <ac:spMk id="38" creationId="{DE71A67E-2756-6EC3-45DC-C536B82D14FB}"/>
          </ac:spMkLst>
        </pc:spChg>
        <pc:grpChg chg="del">
          <ac:chgData name="Pio Parma" userId="9f05d00a-e537-49d7-8068-10844eaca034" providerId="ADAL" clId="{C1CE429F-B11C-4E27-9CFF-89149C269316}" dt="2025-06-24T23:18:44.156" v="1521" actId="478"/>
          <ac:grpSpMkLst>
            <pc:docMk/>
            <pc:sldMk cId="2590015044" sldId="2147475332"/>
            <ac:grpSpMk id="3" creationId="{9C9E6842-7268-3C79-A8F6-9F5DCBDB7604}"/>
          </ac:grpSpMkLst>
        </pc:grpChg>
        <pc:grpChg chg="add mod topLvl">
          <ac:chgData name="Pio Parma" userId="9f05d00a-e537-49d7-8068-10844eaca034" providerId="ADAL" clId="{C1CE429F-B11C-4E27-9CFF-89149C269316}" dt="2025-06-24T23:19:45.829" v="1588" actId="165"/>
          <ac:grpSpMkLst>
            <pc:docMk/>
            <pc:sldMk cId="2590015044" sldId="2147475332"/>
            <ac:grpSpMk id="22" creationId="{DE4ACB5C-5A5D-C63B-61E7-3CACD553DED3}"/>
          </ac:grpSpMkLst>
        </pc:grpChg>
        <pc:grpChg chg="add mod topLvl">
          <ac:chgData name="Pio Parma" userId="9f05d00a-e537-49d7-8068-10844eaca034" providerId="ADAL" clId="{C1CE429F-B11C-4E27-9CFF-89149C269316}" dt="2025-06-24T23:21:55.263" v="1674" actId="1035"/>
          <ac:grpSpMkLst>
            <pc:docMk/>
            <pc:sldMk cId="2590015044" sldId="2147475332"/>
            <ac:grpSpMk id="31" creationId="{4BF0157E-20BA-4889-9648-F5A1FE18A115}"/>
          </ac:grpSpMkLst>
        </pc:grpChg>
        <pc:grpChg chg="add del">
          <ac:chgData name="Pio Parma" userId="9f05d00a-e537-49d7-8068-10844eaca034" providerId="ADAL" clId="{C1CE429F-B11C-4E27-9CFF-89149C269316}" dt="2025-06-24T23:18:36.448" v="1519" actId="165"/>
          <ac:grpSpMkLst>
            <pc:docMk/>
            <pc:sldMk cId="2590015044" sldId="2147475332"/>
            <ac:grpSpMk id="32" creationId="{CB597CF5-1854-830F-CF3E-B6215BF32608}"/>
          </ac:grpSpMkLst>
        </pc:grpChg>
        <pc:grpChg chg="add del mod ord">
          <ac:chgData name="Pio Parma" userId="9f05d00a-e537-49d7-8068-10844eaca034" providerId="ADAL" clId="{C1CE429F-B11C-4E27-9CFF-89149C269316}" dt="2025-06-24T23:19:45.829" v="1588" actId="165"/>
          <ac:grpSpMkLst>
            <pc:docMk/>
            <pc:sldMk cId="2590015044" sldId="2147475332"/>
            <ac:grpSpMk id="39" creationId="{4D900638-9FDC-0A0D-0C2B-82595CD4943D}"/>
          </ac:grpSpMkLst>
        </pc:grpChg>
        <pc:graphicFrameChg chg="del mod topLvl">
          <ac:chgData name="Pio Parma" userId="9f05d00a-e537-49d7-8068-10844eaca034" providerId="ADAL" clId="{C1CE429F-B11C-4E27-9CFF-89149C269316}" dt="2025-06-24T23:18:40.264" v="1520" actId="478"/>
          <ac:graphicFrameMkLst>
            <pc:docMk/>
            <pc:sldMk cId="2590015044" sldId="2147475332"/>
            <ac:graphicFrameMk id="16" creationId="{46E377A3-18D7-727C-C5EF-EE085DA7A27C}"/>
          </ac:graphicFrameMkLst>
        </pc:graphicFrameChg>
        <pc:graphicFrameChg chg="mod">
          <ac:chgData name="Pio Parma" userId="9f05d00a-e537-49d7-8068-10844eaca034" providerId="ADAL" clId="{C1CE429F-B11C-4E27-9CFF-89149C269316}" dt="2025-06-24T23:19:45.829" v="1588" actId="165"/>
          <ac:graphicFrameMkLst>
            <pc:docMk/>
            <pc:sldMk cId="2590015044" sldId="2147475332"/>
            <ac:graphicFrameMk id="24" creationId="{B5FC7075-D095-9169-3520-305AD7825E68}"/>
          </ac:graphicFrameMkLst>
        </pc:graphicFrameChg>
        <pc:picChg chg="del">
          <ac:chgData name="Pio Parma" userId="9f05d00a-e537-49d7-8068-10844eaca034" providerId="ADAL" clId="{C1CE429F-B11C-4E27-9CFF-89149C269316}" dt="2025-06-24T22:33:46.310" v="382" actId="478"/>
          <ac:picMkLst>
            <pc:docMk/>
            <pc:sldMk cId="2590015044" sldId="2147475332"/>
            <ac:picMk id="12" creationId="{1041795A-EABD-13FC-ED9A-C25F19268932}"/>
          </ac:picMkLst>
        </pc:picChg>
        <pc:picChg chg="add mod">
          <ac:chgData name="Pio Parma" userId="9f05d00a-e537-49d7-8068-10844eaca034" providerId="ADAL" clId="{C1CE429F-B11C-4E27-9CFF-89149C269316}" dt="2025-06-24T23:03:53.948" v="1191"/>
          <ac:picMkLst>
            <pc:docMk/>
            <pc:sldMk cId="2590015044" sldId="2147475332"/>
            <ac:picMk id="15" creationId="{5E8A8D15-3BDC-61A9-364A-9EE361F0472A}"/>
          </ac:picMkLst>
        </pc:picChg>
        <pc:cxnChg chg="del mod topLvl">
          <ac:chgData name="Pio Parma" userId="9f05d00a-e537-49d7-8068-10844eaca034" providerId="ADAL" clId="{C1CE429F-B11C-4E27-9CFF-89149C269316}" dt="2025-06-24T23:18:44.156" v="1521" actId="478"/>
          <ac:cxnSpMkLst>
            <pc:docMk/>
            <pc:sldMk cId="2590015044" sldId="2147475332"/>
            <ac:cxnSpMk id="9" creationId="{A2B4300A-5A51-5294-E5CE-2CCE856FB14D}"/>
          </ac:cxnSpMkLst>
        </pc:cxnChg>
        <pc:cxnChg chg="del">
          <ac:chgData name="Pio Parma" userId="9f05d00a-e537-49d7-8068-10844eaca034" providerId="ADAL" clId="{C1CE429F-B11C-4E27-9CFF-89149C269316}" dt="2025-06-24T23:18:46.008" v="1522" actId="478"/>
          <ac:cxnSpMkLst>
            <pc:docMk/>
            <pc:sldMk cId="2590015044" sldId="2147475332"/>
            <ac:cxnSpMk id="11" creationId="{E4BDA14B-0532-512D-8424-0B591386348E}"/>
          </ac:cxnSpMkLst>
        </pc:cxnChg>
        <pc:cxnChg chg="del mod topLvl">
          <ac:chgData name="Pio Parma" userId="9f05d00a-e537-49d7-8068-10844eaca034" providerId="ADAL" clId="{C1CE429F-B11C-4E27-9CFF-89149C269316}" dt="2025-06-24T23:18:44.156" v="1521" actId="478"/>
          <ac:cxnSpMkLst>
            <pc:docMk/>
            <pc:sldMk cId="2590015044" sldId="2147475332"/>
            <ac:cxnSpMk id="18" creationId="{4395E6B9-CD35-A4A0-CA62-50A3EE84E2D9}"/>
          </ac:cxnSpMkLst>
        </pc:cxnChg>
        <pc:cxnChg chg="mod">
          <ac:chgData name="Pio Parma" userId="9f05d00a-e537-49d7-8068-10844eaca034" providerId="ADAL" clId="{C1CE429F-B11C-4E27-9CFF-89149C269316}" dt="2025-06-24T23:19:59.273" v="1612" actId="14100"/>
          <ac:cxnSpMkLst>
            <pc:docMk/>
            <pc:sldMk cId="2590015044" sldId="2147475332"/>
            <ac:cxnSpMk id="21" creationId="{E43F68D3-559E-C131-8633-701C88BA9A8A}"/>
          </ac:cxnSpMkLst>
        </pc:cxnChg>
        <pc:cxnChg chg="mod">
          <ac:chgData name="Pio Parma" userId="9f05d00a-e537-49d7-8068-10844eaca034" providerId="ADAL" clId="{C1CE429F-B11C-4E27-9CFF-89149C269316}" dt="2025-06-24T23:19:29.473" v="1587" actId="1036"/>
          <ac:cxnSpMkLst>
            <pc:docMk/>
            <pc:sldMk cId="2590015044" sldId="2147475332"/>
            <ac:cxnSpMk id="25" creationId="{77814511-1F35-D50F-96F0-E47707D22DDC}"/>
          </ac:cxnSpMkLst>
        </pc:cxnChg>
        <pc:cxnChg chg="mod">
          <ac:chgData name="Pio Parma" userId="9f05d00a-e537-49d7-8068-10844eaca034" providerId="ADAL" clId="{C1CE429F-B11C-4E27-9CFF-89149C269316}" dt="2025-06-24T23:18:46.916" v="1523"/>
          <ac:cxnSpMkLst>
            <pc:docMk/>
            <pc:sldMk cId="2590015044" sldId="2147475332"/>
            <ac:cxnSpMk id="26" creationId="{02FCA302-1903-ADFC-E599-AB64F95CAE7B}"/>
          </ac:cxnSpMkLst>
        </pc:cxnChg>
        <pc:cxnChg chg="mod topLvl">
          <ac:chgData name="Pio Parma" userId="9f05d00a-e537-49d7-8068-10844eaca034" providerId="ADAL" clId="{C1CE429F-B11C-4E27-9CFF-89149C269316}" dt="2025-06-24T23:20:48.542" v="1637" actId="1036"/>
          <ac:cxnSpMkLst>
            <pc:docMk/>
            <pc:sldMk cId="2590015044" sldId="2147475332"/>
            <ac:cxnSpMk id="30" creationId="{04FCE806-84B5-8FA3-1847-ABB2991FBBA3}"/>
          </ac:cxnSpMkLst>
        </pc:cxnChg>
        <pc:cxnChg chg="mod">
          <ac:chgData name="Pio Parma" userId="9f05d00a-e537-49d7-8068-10844eaca034" providerId="ADAL" clId="{C1CE429F-B11C-4E27-9CFF-89149C269316}" dt="2025-06-24T23:19:45.829" v="1588" actId="165"/>
          <ac:cxnSpMkLst>
            <pc:docMk/>
            <pc:sldMk cId="2590015044" sldId="2147475332"/>
            <ac:cxnSpMk id="35" creationId="{ABC2487F-B5B3-3DAF-AA53-A10AADFE823F}"/>
          </ac:cxnSpMkLst>
        </pc:cxnChg>
      </pc:sldChg>
      <pc:sldChg chg="addSp delSp modSp add del mod">
        <pc:chgData name="Pio Parma" userId="9f05d00a-e537-49d7-8068-10844eaca034" providerId="ADAL" clId="{C1CE429F-B11C-4E27-9CFF-89149C269316}" dt="2025-06-24T23:24:08.298" v="1775" actId="20577"/>
        <pc:sldMkLst>
          <pc:docMk/>
          <pc:sldMk cId="2071866452" sldId="2147475334"/>
        </pc:sldMkLst>
        <pc:spChg chg="del">
          <ac:chgData name="Pio Parma" userId="9f05d00a-e537-49d7-8068-10844eaca034" providerId="ADAL" clId="{C1CE429F-B11C-4E27-9CFF-89149C269316}" dt="2025-06-24T22:33:27.139" v="380" actId="478"/>
          <ac:spMkLst>
            <pc:docMk/>
            <pc:sldMk cId="2071866452" sldId="2147475334"/>
            <ac:spMk id="3" creationId="{08725E72-E616-EE63-BB2B-4ABA24D470BF}"/>
          </ac:spMkLst>
        </pc:spChg>
        <pc:spChg chg="mod">
          <ac:chgData name="Pio Parma" userId="9f05d00a-e537-49d7-8068-10844eaca034" providerId="ADAL" clId="{C1CE429F-B11C-4E27-9CFF-89149C269316}" dt="2025-06-24T23:24:08.298" v="1775" actId="20577"/>
          <ac:spMkLst>
            <pc:docMk/>
            <pc:sldMk cId="2071866452" sldId="2147475334"/>
            <ac:spMk id="6" creationId="{7A3B1596-A112-5D8B-085F-BF15F63AF856}"/>
          </ac:spMkLst>
        </pc:spChg>
        <pc:spChg chg="mod">
          <ac:chgData name="Pio Parma" userId="9f05d00a-e537-49d7-8068-10844eaca034" providerId="ADAL" clId="{C1CE429F-B11C-4E27-9CFF-89149C269316}" dt="2025-06-24T22:34:01.187" v="387" actId="20577"/>
          <ac:spMkLst>
            <pc:docMk/>
            <pc:sldMk cId="2071866452" sldId="2147475334"/>
            <ac:spMk id="8" creationId="{828E157A-0EAE-AECB-C9A0-1B7EA8344A03}"/>
          </ac:spMkLst>
        </pc:spChg>
        <pc:spChg chg="mod">
          <ac:chgData name="Pio Parma" userId="9f05d00a-e537-49d7-8068-10844eaca034" providerId="ADAL" clId="{C1CE429F-B11C-4E27-9CFF-89149C269316}" dt="2025-06-24T22:51:32.530" v="890" actId="1037"/>
          <ac:spMkLst>
            <pc:docMk/>
            <pc:sldMk cId="2071866452" sldId="2147475334"/>
            <ac:spMk id="21" creationId="{649A76C6-3DAF-3D1F-2B19-8D6BD0E4CD9E}"/>
          </ac:spMkLst>
        </pc:spChg>
        <pc:picChg chg="del">
          <ac:chgData name="Pio Parma" userId="9f05d00a-e537-49d7-8068-10844eaca034" providerId="ADAL" clId="{C1CE429F-B11C-4E27-9CFF-89149C269316}" dt="2025-06-24T22:34:03.047" v="388" actId="478"/>
          <ac:picMkLst>
            <pc:docMk/>
            <pc:sldMk cId="2071866452" sldId="2147475334"/>
            <ac:picMk id="2" creationId="{214CE64C-F48D-93C3-A40C-B46BEC5E96B5}"/>
          </ac:picMkLst>
        </pc:picChg>
        <pc:picChg chg="add mod">
          <ac:chgData name="Pio Parma" userId="9f05d00a-e537-49d7-8068-10844eaca034" providerId="ADAL" clId="{C1CE429F-B11C-4E27-9CFF-89149C269316}" dt="2025-06-24T23:03:50.954" v="1190"/>
          <ac:picMkLst>
            <pc:docMk/>
            <pc:sldMk cId="2071866452" sldId="2147475334"/>
            <ac:picMk id="4" creationId="{EE127C40-EC23-2182-47B4-027640652E2C}"/>
          </ac:picMkLst>
        </pc:picChg>
      </pc:sldChg>
      <pc:sldChg chg="delSp modSp add mod modNotesTx">
        <pc:chgData name="Pio Parma" userId="9f05d00a-e537-49d7-8068-10844eaca034" providerId="ADAL" clId="{C1CE429F-B11C-4E27-9CFF-89149C269316}" dt="2025-06-24T23:29:16.804" v="1854" actId="20577"/>
        <pc:sldMkLst>
          <pc:docMk/>
          <pc:sldMk cId="2686807615" sldId="2147475342"/>
        </pc:sldMkLst>
        <pc:spChg chg="mod">
          <ac:chgData name="Pio Parma" userId="9f05d00a-e537-49d7-8068-10844eaca034" providerId="ADAL" clId="{C1CE429F-B11C-4E27-9CFF-89149C269316}" dt="2025-06-24T23:29:16.804" v="1854" actId="20577"/>
          <ac:spMkLst>
            <pc:docMk/>
            <pc:sldMk cId="2686807615" sldId="2147475342"/>
            <ac:spMk id="2" creationId="{1F7CCC11-F0BB-B9A6-A65E-E62DBA1259A6}"/>
          </ac:spMkLst>
        </pc:spChg>
        <pc:spChg chg="mod">
          <ac:chgData name="Pio Parma" userId="9f05d00a-e537-49d7-8068-10844eaca034" providerId="ADAL" clId="{C1CE429F-B11C-4E27-9CFF-89149C269316}" dt="2025-06-24T22:51:45.359" v="901" actId="1038"/>
          <ac:spMkLst>
            <pc:docMk/>
            <pc:sldMk cId="2686807615" sldId="2147475342"/>
            <ac:spMk id="6" creationId="{6074978F-6102-5D57-B48F-4D7FF0F02E93}"/>
          </ac:spMkLst>
        </pc:spChg>
        <pc:spChg chg="del">
          <ac:chgData name="Pio Parma" userId="9f05d00a-e537-49d7-8068-10844eaca034" providerId="ADAL" clId="{C1CE429F-B11C-4E27-9CFF-89149C269316}" dt="2025-06-24T22:35:07.388" v="392" actId="478"/>
          <ac:spMkLst>
            <pc:docMk/>
            <pc:sldMk cId="2686807615" sldId="2147475342"/>
            <ac:spMk id="9" creationId="{094EE2DB-1E3A-0059-6DC4-71E027A9A19F}"/>
          </ac:spMkLst>
        </pc:spChg>
      </pc:sldChg>
      <pc:sldChg chg="addSp delSp modSp add mod modNotes">
        <pc:chgData name="Pio Parma" userId="9f05d00a-e537-49d7-8068-10844eaca034" providerId="ADAL" clId="{C1CE429F-B11C-4E27-9CFF-89149C269316}" dt="2025-06-24T23:30:50.237" v="1957" actId="20577"/>
        <pc:sldMkLst>
          <pc:docMk/>
          <pc:sldMk cId="3650736320" sldId="2147475363"/>
        </pc:sldMkLst>
        <pc:spChg chg="mod">
          <ac:chgData name="Pio Parma" userId="9f05d00a-e537-49d7-8068-10844eaca034" providerId="ADAL" clId="{C1CE429F-B11C-4E27-9CFF-89149C269316}" dt="2025-06-24T23:30:08.668" v="1891" actId="20577"/>
          <ac:spMkLst>
            <pc:docMk/>
            <pc:sldMk cId="3650736320" sldId="2147475363"/>
            <ac:spMk id="2" creationId="{A5445930-2E74-B7DB-9C4A-63F3313AD4E0}"/>
          </ac:spMkLst>
        </pc:spChg>
        <pc:spChg chg="del">
          <ac:chgData name="Pio Parma" userId="9f05d00a-e537-49d7-8068-10844eaca034" providerId="ADAL" clId="{C1CE429F-B11C-4E27-9CFF-89149C269316}" dt="2025-06-24T22:42:11.620" v="608" actId="478"/>
          <ac:spMkLst>
            <pc:docMk/>
            <pc:sldMk cId="3650736320" sldId="2147475363"/>
            <ac:spMk id="3" creationId="{C97CCD93-93E1-10D7-28D4-E3880E3785CA}"/>
          </ac:spMkLst>
        </pc:spChg>
        <pc:spChg chg="add mod">
          <ac:chgData name="Pio Parma" userId="9f05d00a-e537-49d7-8068-10844eaca034" providerId="ADAL" clId="{C1CE429F-B11C-4E27-9CFF-89149C269316}" dt="2025-06-24T23:30:50.237" v="1957" actId="20577"/>
          <ac:spMkLst>
            <pc:docMk/>
            <pc:sldMk cId="3650736320" sldId="2147475363"/>
            <ac:spMk id="4" creationId="{E195EB29-E7B9-A47A-25FD-E0E8D15CBEFF}"/>
          </ac:spMkLst>
        </pc:spChg>
        <pc:spChg chg="mod">
          <ac:chgData name="Pio Parma" userId="9f05d00a-e537-49d7-8068-10844eaca034" providerId="ADAL" clId="{C1CE429F-B11C-4E27-9CFF-89149C269316}" dt="2025-06-24T22:54:42.747" v="1041" actId="12788"/>
          <ac:spMkLst>
            <pc:docMk/>
            <pc:sldMk cId="3650736320" sldId="2147475363"/>
            <ac:spMk id="5" creationId="{8A1EFD5E-B146-060E-CA65-B86B5701EB76}"/>
          </ac:spMkLst>
        </pc:spChg>
        <pc:spChg chg="mod">
          <ac:chgData name="Pio Parma" userId="9f05d00a-e537-49d7-8068-10844eaca034" providerId="ADAL" clId="{C1CE429F-B11C-4E27-9CFF-89149C269316}" dt="2025-06-24T22:54:57.088" v="1056" actId="1038"/>
          <ac:spMkLst>
            <pc:docMk/>
            <pc:sldMk cId="3650736320" sldId="2147475363"/>
            <ac:spMk id="6" creationId="{287111C6-62C5-4407-1629-8BD06827B7AC}"/>
          </ac:spMkLst>
        </pc:spChg>
        <pc:spChg chg="mod">
          <ac:chgData name="Pio Parma" userId="9f05d00a-e537-49d7-8068-10844eaca034" providerId="ADAL" clId="{C1CE429F-B11C-4E27-9CFF-89149C269316}" dt="2025-06-24T22:54:57.088" v="1056" actId="1038"/>
          <ac:spMkLst>
            <pc:docMk/>
            <pc:sldMk cId="3650736320" sldId="2147475363"/>
            <ac:spMk id="7" creationId="{3F3402AC-26DB-493C-F183-D0037DEBF3CA}"/>
          </ac:spMkLst>
        </pc:spChg>
        <pc:spChg chg="mod">
          <ac:chgData name="Pio Parma" userId="9f05d00a-e537-49d7-8068-10844eaca034" providerId="ADAL" clId="{C1CE429F-B11C-4E27-9CFF-89149C269316}" dt="2025-06-24T22:54:42.747" v="1041" actId="12788"/>
          <ac:spMkLst>
            <pc:docMk/>
            <pc:sldMk cId="3650736320" sldId="2147475363"/>
            <ac:spMk id="8" creationId="{11C5D1DD-9880-62C9-C954-4AC4EC7B47D7}"/>
          </ac:spMkLst>
        </pc:spChg>
        <pc:spChg chg="mod">
          <ac:chgData name="Pio Parma" userId="9f05d00a-e537-49d7-8068-10844eaca034" providerId="ADAL" clId="{C1CE429F-B11C-4E27-9CFF-89149C269316}" dt="2025-06-24T22:51:55.527" v="913" actId="1036"/>
          <ac:spMkLst>
            <pc:docMk/>
            <pc:sldMk cId="3650736320" sldId="2147475363"/>
            <ac:spMk id="15" creationId="{DA2B4A80-1F8B-6F15-D7BA-B02CBF614B75}"/>
          </ac:spMkLst>
        </pc:spChg>
        <pc:picChg chg="mod">
          <ac:chgData name="Pio Parma" userId="9f05d00a-e537-49d7-8068-10844eaca034" providerId="ADAL" clId="{C1CE429F-B11C-4E27-9CFF-89149C269316}" dt="2025-06-24T22:54:42.747" v="1041" actId="12788"/>
          <ac:picMkLst>
            <pc:docMk/>
            <pc:sldMk cId="3650736320" sldId="2147475363"/>
            <ac:picMk id="3074" creationId="{0806C4D8-8225-19B5-B5BC-9B7F5D3A1FC1}"/>
          </ac:picMkLst>
        </pc:picChg>
        <pc:picChg chg="mod">
          <ac:chgData name="Pio Parma" userId="9f05d00a-e537-49d7-8068-10844eaca034" providerId="ADAL" clId="{C1CE429F-B11C-4E27-9CFF-89149C269316}" dt="2025-06-24T22:54:42.747" v="1041" actId="12788"/>
          <ac:picMkLst>
            <pc:docMk/>
            <pc:sldMk cId="3650736320" sldId="2147475363"/>
            <ac:picMk id="3076" creationId="{4B5EDAB1-01EE-0377-0E3F-8E42DFFE8CB6}"/>
          </ac:picMkLst>
        </pc:picChg>
        <pc:picChg chg="mod">
          <ac:chgData name="Pio Parma" userId="9f05d00a-e537-49d7-8068-10844eaca034" providerId="ADAL" clId="{C1CE429F-B11C-4E27-9CFF-89149C269316}" dt="2025-06-24T22:54:57.088" v="1056" actId="1038"/>
          <ac:picMkLst>
            <pc:docMk/>
            <pc:sldMk cId="3650736320" sldId="2147475363"/>
            <ac:picMk id="3078" creationId="{3AD4C990-6E3E-EFF1-C2FD-E65F9B3A952E}"/>
          </ac:picMkLst>
        </pc:picChg>
        <pc:picChg chg="mod">
          <ac:chgData name="Pio Parma" userId="9f05d00a-e537-49d7-8068-10844eaca034" providerId="ADAL" clId="{C1CE429F-B11C-4E27-9CFF-89149C269316}" dt="2025-06-24T22:54:57.088" v="1056" actId="1038"/>
          <ac:picMkLst>
            <pc:docMk/>
            <pc:sldMk cId="3650736320" sldId="2147475363"/>
            <ac:picMk id="3080" creationId="{D653FC0F-A5C8-3108-0605-835F54C5CF67}"/>
          </ac:picMkLst>
        </pc:picChg>
      </pc:sldChg>
      <pc:sldChg chg="addSp delSp modSp add mod modNotes">
        <pc:chgData name="Pio Parma" userId="9f05d00a-e537-49d7-8068-10844eaca034" providerId="ADAL" clId="{C1CE429F-B11C-4E27-9CFF-89149C269316}" dt="2025-06-24T23:14:45.408" v="1488" actId="1037"/>
        <pc:sldMkLst>
          <pc:docMk/>
          <pc:sldMk cId="2336643285" sldId="2147475379"/>
        </pc:sldMkLst>
        <pc:spChg chg="mod">
          <ac:chgData name="Pio Parma" userId="9f05d00a-e537-49d7-8068-10844eaca034" providerId="ADAL" clId="{C1CE429F-B11C-4E27-9CFF-89149C269316}" dt="2025-06-24T22:43:26.822" v="742" actId="255"/>
          <ac:spMkLst>
            <pc:docMk/>
            <pc:sldMk cId="2336643285" sldId="2147475379"/>
            <ac:spMk id="2" creationId="{3D321A9C-8F68-63C1-1EAF-940171C5D669}"/>
          </ac:spMkLst>
        </pc:spChg>
        <pc:spChg chg="mod">
          <ac:chgData name="Pio Parma" userId="9f05d00a-e537-49d7-8068-10844eaca034" providerId="ADAL" clId="{C1CE429F-B11C-4E27-9CFF-89149C269316}" dt="2025-06-24T23:14:33.192" v="1466" actId="948"/>
          <ac:spMkLst>
            <pc:docMk/>
            <pc:sldMk cId="2336643285" sldId="2147475379"/>
            <ac:spMk id="3" creationId="{9D910EAB-6BE9-F65B-98BF-1611EB45E0A9}"/>
          </ac:spMkLst>
        </pc:spChg>
        <pc:spChg chg="mod">
          <ac:chgData name="Pio Parma" userId="9f05d00a-e537-49d7-8068-10844eaca034" providerId="ADAL" clId="{C1CE429F-B11C-4E27-9CFF-89149C269316}" dt="2025-06-24T23:10:42.230" v="1324" actId="20577"/>
          <ac:spMkLst>
            <pc:docMk/>
            <pc:sldMk cId="2336643285" sldId="2147475379"/>
            <ac:spMk id="4" creationId="{73E4BBA0-6E20-8893-C71A-D8F56A9D3AAA}"/>
          </ac:spMkLst>
        </pc:spChg>
        <pc:spChg chg="mod">
          <ac:chgData name="Pio Parma" userId="9f05d00a-e537-49d7-8068-10844eaca034" providerId="ADAL" clId="{C1CE429F-B11C-4E27-9CFF-89149C269316}" dt="2025-06-24T23:14:45.408" v="1488" actId="1037"/>
          <ac:spMkLst>
            <pc:docMk/>
            <pc:sldMk cId="2336643285" sldId="2147475379"/>
            <ac:spMk id="5" creationId="{72DD4013-BDED-6499-4B07-215C29D46B23}"/>
          </ac:spMkLst>
        </pc:spChg>
        <pc:spChg chg="del">
          <ac:chgData name="Pio Parma" userId="9f05d00a-e537-49d7-8068-10844eaca034" providerId="ADAL" clId="{C1CE429F-B11C-4E27-9CFF-89149C269316}" dt="2025-06-24T22:36:00.896" v="422" actId="478"/>
          <ac:spMkLst>
            <pc:docMk/>
            <pc:sldMk cId="2336643285" sldId="2147475379"/>
            <ac:spMk id="6" creationId="{504DF687-26EF-515A-1CF4-59E3CAFA00F4}"/>
          </ac:spMkLst>
        </pc:spChg>
        <pc:picChg chg="add mod">
          <ac:chgData name="Pio Parma" userId="9f05d00a-e537-49d7-8068-10844eaca034" providerId="ADAL" clId="{C1CE429F-B11C-4E27-9CFF-89149C269316}" dt="2025-06-24T23:13:48.331" v="1451" actId="1036"/>
          <ac:picMkLst>
            <pc:docMk/>
            <pc:sldMk cId="2336643285" sldId="2147475379"/>
            <ac:picMk id="1026" creationId="{B6F21E83-5010-F3C7-B5FC-3C9E88E96DBD}"/>
          </ac:picMkLst>
        </pc:picChg>
        <pc:picChg chg="add mod">
          <ac:chgData name="Pio Parma" userId="9f05d00a-e537-49d7-8068-10844eaca034" providerId="ADAL" clId="{C1CE429F-B11C-4E27-9CFF-89149C269316}" dt="2025-06-24T23:13:29.096" v="1440" actId="12788"/>
          <ac:picMkLst>
            <pc:docMk/>
            <pc:sldMk cId="2336643285" sldId="2147475379"/>
            <ac:picMk id="1028" creationId="{CCDCC373-3158-B74F-2E2A-09D5EDAAE621}"/>
          </ac:picMkLst>
        </pc:picChg>
        <pc:picChg chg="add mod">
          <ac:chgData name="Pio Parma" userId="9f05d00a-e537-49d7-8068-10844eaca034" providerId="ADAL" clId="{C1CE429F-B11C-4E27-9CFF-89149C269316}" dt="2025-06-24T23:13:53.552" v="1459" actId="1036"/>
          <ac:picMkLst>
            <pc:docMk/>
            <pc:sldMk cId="2336643285" sldId="2147475379"/>
            <ac:picMk id="1030" creationId="{FEC20BBF-D014-71AD-2C52-EF15362E0505}"/>
          </ac:picMkLst>
        </pc:picChg>
        <pc:picChg chg="add mod">
          <ac:chgData name="Pio Parma" userId="9f05d00a-e537-49d7-8068-10844eaca034" providerId="ADAL" clId="{C1CE429F-B11C-4E27-9CFF-89149C269316}" dt="2025-06-24T23:14:37.393" v="1470" actId="1035"/>
          <ac:picMkLst>
            <pc:docMk/>
            <pc:sldMk cId="2336643285" sldId="2147475379"/>
            <ac:picMk id="1032" creationId="{EF277A2D-82A0-5E3C-A95B-DAEB216E53F0}"/>
          </ac:picMkLst>
        </pc:picChg>
      </pc:sldChg>
      <pc:sldChg chg="add del">
        <pc:chgData name="Pio Parma" userId="9f05d00a-e537-49d7-8068-10844eaca034" providerId="ADAL" clId="{C1CE429F-B11C-4E27-9CFF-89149C269316}" dt="2025-06-24T22:43:31.958" v="743" actId="47"/>
        <pc:sldMkLst>
          <pc:docMk/>
          <pc:sldMk cId="731686626" sldId="2147475380"/>
        </pc:sldMkLst>
      </pc:sldChg>
      <pc:sldChg chg="modSp add mod">
        <pc:chgData name="Pio Parma" userId="9f05d00a-e537-49d7-8068-10844eaca034" providerId="ADAL" clId="{C1CE429F-B11C-4E27-9CFF-89149C269316}" dt="2025-06-25T00:47:55.288" v="1994" actId="1036"/>
        <pc:sldMkLst>
          <pc:docMk/>
          <pc:sldMk cId="2489998306" sldId="2147475390"/>
        </pc:sldMkLst>
        <pc:spChg chg="mod">
          <ac:chgData name="Pio Parma" userId="9f05d00a-e537-49d7-8068-10844eaca034" providerId="ADAL" clId="{C1CE429F-B11C-4E27-9CFF-89149C269316}" dt="2025-06-24T22:51:28.023" v="886" actId="1036"/>
          <ac:spMkLst>
            <pc:docMk/>
            <pc:sldMk cId="2489998306" sldId="2147475390"/>
            <ac:spMk id="5" creationId="{982A9CDA-0841-4A79-2202-C9009455ED27}"/>
          </ac:spMkLst>
        </pc:spChg>
        <pc:spChg chg="mod">
          <ac:chgData name="Pio Parma" userId="9f05d00a-e537-49d7-8068-10844eaca034" providerId="ADAL" clId="{C1CE429F-B11C-4E27-9CFF-89149C269316}" dt="2025-06-24T22:49:43.747" v="862" actId="207"/>
          <ac:spMkLst>
            <pc:docMk/>
            <pc:sldMk cId="2489998306" sldId="2147475390"/>
            <ac:spMk id="11" creationId="{02B683F6-A7B7-9F4E-D476-500765BE9E21}"/>
          </ac:spMkLst>
        </pc:spChg>
        <pc:spChg chg="mod">
          <ac:chgData name="Pio Parma" userId="9f05d00a-e537-49d7-8068-10844eaca034" providerId="ADAL" clId="{C1CE429F-B11C-4E27-9CFF-89149C269316}" dt="2025-06-24T22:49:35.063" v="861" actId="14100"/>
          <ac:spMkLst>
            <pc:docMk/>
            <pc:sldMk cId="2489998306" sldId="2147475390"/>
            <ac:spMk id="14" creationId="{200328E2-31CE-DB1C-C340-15CC09ED5B7F}"/>
          </ac:spMkLst>
        </pc:spChg>
        <pc:spChg chg="mod">
          <ac:chgData name="Pio Parma" userId="9f05d00a-e537-49d7-8068-10844eaca034" providerId="ADAL" clId="{C1CE429F-B11C-4E27-9CFF-89149C269316}" dt="2025-06-24T22:49:02.124" v="859" actId="404"/>
          <ac:spMkLst>
            <pc:docMk/>
            <pc:sldMk cId="2489998306" sldId="2147475390"/>
            <ac:spMk id="25" creationId="{4BCF610B-A71A-406F-18A1-6E6ADF64ECC4}"/>
          </ac:spMkLst>
        </pc:spChg>
        <pc:spChg chg="mod">
          <ac:chgData name="Pio Parma" userId="9f05d00a-e537-49d7-8068-10844eaca034" providerId="ADAL" clId="{C1CE429F-B11C-4E27-9CFF-89149C269316}" dt="2025-06-24T22:49:43.747" v="862" actId="207"/>
          <ac:spMkLst>
            <pc:docMk/>
            <pc:sldMk cId="2489998306" sldId="2147475390"/>
            <ac:spMk id="26" creationId="{8103D1AE-8605-C4A3-FBB0-B275153EAEEA}"/>
          </ac:spMkLst>
        </pc:spChg>
        <pc:spChg chg="mod">
          <ac:chgData name="Pio Parma" userId="9f05d00a-e537-49d7-8068-10844eaca034" providerId="ADAL" clId="{C1CE429F-B11C-4E27-9CFF-89149C269316}" dt="2025-06-24T22:49:43.747" v="862" actId="207"/>
          <ac:spMkLst>
            <pc:docMk/>
            <pc:sldMk cId="2489998306" sldId="2147475390"/>
            <ac:spMk id="35" creationId="{83CB2BFD-0471-74CB-B6F6-15826B313223}"/>
          </ac:spMkLst>
        </pc:spChg>
        <pc:grpChg chg="mod">
          <ac:chgData name="Pio Parma" userId="9f05d00a-e537-49d7-8068-10844eaca034" providerId="ADAL" clId="{C1CE429F-B11C-4E27-9CFF-89149C269316}" dt="2025-06-25T00:47:55.288" v="1994" actId="1036"/>
          <ac:grpSpMkLst>
            <pc:docMk/>
            <pc:sldMk cId="2489998306" sldId="2147475390"/>
            <ac:grpSpMk id="18" creationId="{336FFA6E-2550-C1FC-A7D6-386468853DFA}"/>
          </ac:grpSpMkLst>
        </pc:grpChg>
      </pc:sldChg>
      <pc:sldChg chg="del">
        <pc:chgData name="Pio Parma" userId="9f05d00a-e537-49d7-8068-10844eaca034" providerId="ADAL" clId="{C1CE429F-B11C-4E27-9CFF-89149C269316}" dt="2025-06-24T22:44:39.509" v="744" actId="47"/>
        <pc:sldMkLst>
          <pc:docMk/>
          <pc:sldMk cId="963249807" sldId="214747554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273693058" sldId="214747556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474545170" sldId="214747684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890508886" sldId="214747696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40630364" sldId="214747697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838247611" sldId="214748357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412662126" sldId="2147483579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406941726" sldId="214748359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856985895" sldId="214748359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728148291" sldId="214748359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854769100" sldId="214748359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82727967" sldId="2147483603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707155119" sldId="214748360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554228558" sldId="2147483614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3006544109" sldId="2147483615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875772413" sldId="2147483616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4114105445" sldId="2147483617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31038984" sldId="2147483618"/>
        </pc:sldMkLst>
      </pc:sldChg>
      <pc:sldChg chg="del">
        <pc:chgData name="Pio Parma" userId="9f05d00a-e537-49d7-8068-10844eaca034" providerId="ADAL" clId="{C1CE429F-B11C-4E27-9CFF-89149C269316}" dt="2025-06-24T22:27:14.460" v="326" actId="47"/>
        <pc:sldMkLst>
          <pc:docMk/>
          <pc:sldMk cId="189845450" sldId="2147483619"/>
        </pc:sldMkLst>
      </pc:sldChg>
      <pc:sldMasterChg chg="addSp delSp modSp mod delSldLayout">
        <pc:chgData name="Pio Parma" userId="9f05d00a-e537-49d7-8068-10844eaca034" providerId="ADAL" clId="{C1CE429F-B11C-4E27-9CFF-89149C269316}" dt="2025-06-24T22:50:39.987" v="870"/>
        <pc:sldMasterMkLst>
          <pc:docMk/>
          <pc:sldMasterMk cId="2836490435" sldId="2147483648"/>
        </pc:sldMasterMkLst>
        <pc:picChg chg="del">
          <ac:chgData name="Pio Parma" userId="9f05d00a-e537-49d7-8068-10844eaca034" providerId="ADAL" clId="{C1CE429F-B11C-4E27-9CFF-89149C269316}" dt="2025-06-24T22:50:38.182" v="869" actId="478"/>
          <ac:picMkLst>
            <pc:docMk/>
            <pc:sldMasterMk cId="2836490435" sldId="2147483648"/>
            <ac:picMk id="3" creationId="{BD9574C0-451F-A03B-3F26-3932EDBEE053}"/>
          </ac:picMkLst>
        </pc:picChg>
        <pc:picChg chg="add mod">
          <ac:chgData name="Pio Parma" userId="9f05d00a-e537-49d7-8068-10844eaca034" providerId="ADAL" clId="{C1CE429F-B11C-4E27-9CFF-89149C269316}" dt="2025-06-24T22:50:39.987" v="870"/>
          <ac:picMkLst>
            <pc:docMk/>
            <pc:sldMasterMk cId="2836490435" sldId="2147483648"/>
            <ac:picMk id="4" creationId="{ED0D45C5-4E88-7A3A-93B8-45968E2A25FD}"/>
          </ac:picMkLst>
        </pc:pic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836490435" sldId="2147483648"/>
            <pc:sldLayoutMk cId="1761932007" sldId="2147483853"/>
          </pc:sldLayoutMkLst>
        </pc:sldLayoutChg>
        <pc:sldLayoutChg chg="del">
          <pc:chgData name="Pio Parma" userId="9f05d00a-e537-49d7-8068-10844eaca034" providerId="ADAL" clId="{C1CE429F-B11C-4E27-9CFF-89149C269316}" dt="2025-06-24T22:44:39.509" v="744" actId="47"/>
          <pc:sldLayoutMkLst>
            <pc:docMk/>
            <pc:sldMasterMk cId="2836490435" sldId="2147483648"/>
            <pc:sldLayoutMk cId="3997263760" sldId="2147483990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836490435" sldId="2147483648"/>
            <pc:sldLayoutMk cId="852899326" sldId="2147484116"/>
          </pc:sldLayoutMkLst>
        </pc:sldLayoutChg>
      </pc:sldMasterChg>
      <pc:sldMasterChg chg="addSp delSp modSp mod delSldLayout modSldLayout">
        <pc:chgData name="Pio Parma" userId="9f05d00a-e537-49d7-8068-10844eaca034" providerId="ADAL" clId="{C1CE429F-B11C-4E27-9CFF-89149C269316}" dt="2025-06-24T22:50:15.789" v="867"/>
        <pc:sldMasterMkLst>
          <pc:docMk/>
          <pc:sldMasterMk cId="2584381504" sldId="2147484069"/>
        </pc:sldMasterMkLst>
        <pc:picChg chg="del">
          <ac:chgData name="Pio Parma" userId="9f05d00a-e537-49d7-8068-10844eaca034" providerId="ADAL" clId="{C1CE429F-B11C-4E27-9CFF-89149C269316}" dt="2025-06-24T22:50:15.162" v="866" actId="478"/>
          <ac:picMkLst>
            <pc:docMk/>
            <pc:sldMasterMk cId="2584381504" sldId="2147484069"/>
            <ac:picMk id="3" creationId="{E82E2283-3F4A-205A-9571-57EE1C72DC93}"/>
          </ac:picMkLst>
        </pc:picChg>
        <pc:picChg chg="add mod">
          <ac:chgData name="Pio Parma" userId="9f05d00a-e537-49d7-8068-10844eaca034" providerId="ADAL" clId="{C1CE429F-B11C-4E27-9CFF-89149C269316}" dt="2025-06-24T22:50:15.789" v="867"/>
          <ac:picMkLst>
            <pc:docMk/>
            <pc:sldMasterMk cId="2584381504" sldId="2147484069"/>
            <ac:picMk id="4" creationId="{6E992FBD-7476-AAC6-077D-4E9AEFB2C6F6}"/>
          </ac:picMkLst>
        </pc:pic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1829352840" sldId="2147484081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940558167" sldId="2147484083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3028846785" sldId="2147484085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4081112299" sldId="2147484086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1221766391" sldId="2147484089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2867764734" sldId="2147484090"/>
          </pc:sldLayoutMkLst>
        </pc:sldLayoutChg>
        <pc:sldLayoutChg chg="modSp">
          <pc:chgData name="Pio Parma" userId="9f05d00a-e537-49d7-8068-10844eaca034" providerId="ADAL" clId="{C1CE429F-B11C-4E27-9CFF-89149C269316}" dt="2025-06-24T22:50:00.481" v="863" actId="735"/>
          <pc:sldLayoutMkLst>
            <pc:docMk/>
            <pc:sldMasterMk cId="2584381504" sldId="2147484069"/>
            <pc:sldLayoutMk cId="119885422" sldId="2147484091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3079149870" sldId="2147484117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3926222751" sldId="2147484118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2003038698" sldId="2147484119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117808830" sldId="2147484122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2958535849" sldId="2147484123"/>
          </pc:sldLayoutMkLst>
        </pc:sldLayoutChg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2584381504" sldId="2147484069"/>
            <pc:sldLayoutMk cId="3452391931" sldId="2147484124"/>
          </pc:sldLayoutMkLst>
        </pc:sldLayoutChg>
      </pc:sldMasterChg>
      <pc:sldMasterChg chg="modSp delSldLayout">
        <pc:chgData name="Pio Parma" userId="9f05d00a-e537-49d7-8068-10844eaca034" providerId="ADAL" clId="{C1CE429F-B11C-4E27-9CFF-89149C269316}" dt="2025-06-24T22:50:02.770" v="864" actId="735"/>
        <pc:sldMasterMkLst>
          <pc:docMk/>
          <pc:sldMasterMk cId="1934833029" sldId="2147484093"/>
        </pc:sldMasterMkLst>
        <pc:sldLayoutChg chg="del">
          <pc:chgData name="Pio Parma" userId="9f05d00a-e537-49d7-8068-10844eaca034" providerId="ADAL" clId="{C1CE429F-B11C-4E27-9CFF-89149C269316}" dt="2025-06-24T22:27:14.460" v="326" actId="47"/>
          <pc:sldLayoutMkLst>
            <pc:docMk/>
            <pc:sldMasterMk cId="1934833029" sldId="2147484093"/>
            <pc:sldLayoutMk cId="899420100" sldId="2147484104"/>
          </pc:sldLayoutMkLst>
        </pc:sldLayoutChg>
      </pc:sldMasterChg>
      <pc:sldMasterChg chg="delSldLayout">
        <pc:chgData name="Pio Parma" userId="9f05d00a-e537-49d7-8068-10844eaca034" providerId="ADAL" clId="{C1CE429F-B11C-4E27-9CFF-89149C269316}" dt="2025-06-24T22:34:37.105" v="389" actId="47"/>
        <pc:sldMasterMkLst>
          <pc:docMk/>
          <pc:sldMasterMk cId="2031271794" sldId="2147484117"/>
        </pc:sldMasterMkLst>
        <pc:sldLayoutChg chg="del">
          <pc:chgData name="Pio Parma" userId="9f05d00a-e537-49d7-8068-10844eaca034" providerId="ADAL" clId="{C1CE429F-B11C-4E27-9CFF-89149C269316}" dt="2025-06-24T22:34:37.105" v="389" actId="47"/>
          <pc:sldLayoutMkLst>
            <pc:docMk/>
            <pc:sldMasterMk cId="2031271794" sldId="2147484117"/>
            <pc:sldLayoutMk cId="1570117345" sldId="214748412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s01dcmi.ambrosetti.it\rete\Group\AREA%20MONOCLIENT\CLIENTI%20IN%20ESSERE\Meridiano%20Sanit&#224;\Meridiano%20Sanit&#224;%2018\Eventi%20di%20terzi\231017_Sanofi\andamento%20curve%20natalit&#224;%20e%20mortalit&#224;%20istat%20itali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01dcmi\Rete\Group\AREA%20MONOCLIENT\CLIENTI%20IN%20ESSERE\Community%20Retail%205.0\4.%20Quarta%20edizione%202024\Elaborazioni\Popolazione%20I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ambrosettispa.sharepoint.com/sites/Toscana2050/Documenti%20condivisi/Toscana%202050/elaborazion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oglio1!$A$3</c:f>
              <c:strCache>
                <c:ptCount val="1"/>
                <c:pt idx="0">
                  <c:v>Birth rate</c:v>
                </c:pt>
              </c:strCache>
            </c:strRef>
          </c:tx>
          <c:spPr>
            <a:ln w="28575" cap="rnd">
              <a:solidFill>
                <a:srgbClr val="001E6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diamond"/>
              <c:size val="5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5E9-4EF8-A4AE-DCCBF3677904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55E9-4EF8-A4AE-DCCBF3677904}"/>
              </c:ext>
            </c:extLst>
          </c:dPt>
          <c:dPt>
            <c:idx val="50"/>
            <c:marker>
              <c:symbol val="diamond"/>
              <c:size val="5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rgbClr val="001E60">
                    <a:alpha val="99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E9-4EF8-A4AE-DCCBF3677904}"/>
              </c:ext>
            </c:extLst>
          </c:dPt>
          <c:dPt>
            <c:idx val="77"/>
            <c:marker>
              <c:symbol val="diamond"/>
              <c:size val="5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5E9-4EF8-A4AE-DCCBF3677904}"/>
              </c:ext>
            </c:extLst>
          </c:dPt>
          <c:dLbls>
            <c:dLbl>
              <c:idx val="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5E9-4EF8-A4AE-DCCBF3677904}"/>
                </c:ext>
              </c:extLst>
            </c:dLbl>
            <c:dLbl>
              <c:idx val="5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5E9-4EF8-A4AE-DCCBF3677904}"/>
                </c:ext>
              </c:extLst>
            </c:dLbl>
            <c:dLbl>
              <c:idx val="7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E9-4EF8-A4AE-DCCBF367790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W$2:$EV$2</c:f>
              <c:numCache>
                <c:formatCode>General</c:formatCode>
                <c:ptCount val="78"/>
                <c:pt idx="0">
                  <c:v>1973</c:v>
                </c:pt>
                <c:pt idx="1">
                  <c:v>1974</c:v>
                </c:pt>
                <c:pt idx="2">
                  <c:v>1975</c:v>
                </c:pt>
                <c:pt idx="3">
                  <c:v>1976</c:v>
                </c:pt>
                <c:pt idx="4">
                  <c:v>1977</c:v>
                </c:pt>
                <c:pt idx="5">
                  <c:v>1978</c:v>
                </c:pt>
                <c:pt idx="6">
                  <c:v>1979</c:v>
                </c:pt>
                <c:pt idx="7">
                  <c:v>1980</c:v>
                </c:pt>
                <c:pt idx="8">
                  <c:v>1981</c:v>
                </c:pt>
                <c:pt idx="9">
                  <c:v>1982</c:v>
                </c:pt>
                <c:pt idx="10">
                  <c:v>1983</c:v>
                </c:pt>
                <c:pt idx="11">
                  <c:v>1984</c:v>
                </c:pt>
                <c:pt idx="12">
                  <c:v>1985</c:v>
                </c:pt>
                <c:pt idx="13">
                  <c:v>1986</c:v>
                </c:pt>
                <c:pt idx="14">
                  <c:v>1987</c:v>
                </c:pt>
                <c:pt idx="15">
                  <c:v>1988</c:v>
                </c:pt>
                <c:pt idx="16">
                  <c:v>1989</c:v>
                </c:pt>
                <c:pt idx="17">
                  <c:v>1990</c:v>
                </c:pt>
                <c:pt idx="18">
                  <c:v>1991</c:v>
                </c:pt>
                <c:pt idx="19">
                  <c:v>1992</c:v>
                </c:pt>
                <c:pt idx="20">
                  <c:v>1993</c:v>
                </c:pt>
                <c:pt idx="21">
                  <c:v>1994</c:v>
                </c:pt>
                <c:pt idx="22">
                  <c:v>1995</c:v>
                </c:pt>
                <c:pt idx="23">
                  <c:v>1996</c:v>
                </c:pt>
                <c:pt idx="24">
                  <c:v>1997</c:v>
                </c:pt>
                <c:pt idx="25">
                  <c:v>1998</c:v>
                </c:pt>
                <c:pt idx="26">
                  <c:v>1999</c:v>
                </c:pt>
                <c:pt idx="27">
                  <c:v>2000</c:v>
                </c:pt>
                <c:pt idx="28">
                  <c:v>2001</c:v>
                </c:pt>
                <c:pt idx="29">
                  <c:v>2002</c:v>
                </c:pt>
                <c:pt idx="30">
                  <c:v>2003</c:v>
                </c:pt>
                <c:pt idx="31">
                  <c:v>2004</c:v>
                </c:pt>
                <c:pt idx="32">
                  <c:v>2005</c:v>
                </c:pt>
                <c:pt idx="33">
                  <c:v>2006</c:v>
                </c:pt>
                <c:pt idx="34">
                  <c:v>2007</c:v>
                </c:pt>
                <c:pt idx="35">
                  <c:v>2008</c:v>
                </c:pt>
                <c:pt idx="36">
                  <c:v>2009</c:v>
                </c:pt>
                <c:pt idx="37">
                  <c:v>2010</c:v>
                </c:pt>
                <c:pt idx="38">
                  <c:v>2011</c:v>
                </c:pt>
                <c:pt idx="39">
                  <c:v>2012</c:v>
                </c:pt>
                <c:pt idx="40">
                  <c:v>2013</c:v>
                </c:pt>
                <c:pt idx="41">
                  <c:v>2014</c:v>
                </c:pt>
                <c:pt idx="42">
                  <c:v>2015</c:v>
                </c:pt>
                <c:pt idx="43">
                  <c:v>2016</c:v>
                </c:pt>
                <c:pt idx="44">
                  <c:v>2017</c:v>
                </c:pt>
                <c:pt idx="45">
                  <c:v>2018</c:v>
                </c:pt>
                <c:pt idx="46">
                  <c:v>2019</c:v>
                </c:pt>
                <c:pt idx="47">
                  <c:v>2020</c:v>
                </c:pt>
                <c:pt idx="48">
                  <c:v>2021</c:v>
                </c:pt>
                <c:pt idx="49">
                  <c:v>2022</c:v>
                </c:pt>
                <c:pt idx="50">
                  <c:v>2023</c:v>
                </c:pt>
                <c:pt idx="51">
                  <c:v>2024</c:v>
                </c:pt>
                <c:pt idx="52">
                  <c:v>2025</c:v>
                </c:pt>
                <c:pt idx="53">
                  <c:v>2026</c:v>
                </c:pt>
                <c:pt idx="54">
                  <c:v>2027</c:v>
                </c:pt>
                <c:pt idx="55">
                  <c:v>2028</c:v>
                </c:pt>
                <c:pt idx="56">
                  <c:v>2029</c:v>
                </c:pt>
                <c:pt idx="57">
                  <c:v>2030</c:v>
                </c:pt>
                <c:pt idx="58">
                  <c:v>2031</c:v>
                </c:pt>
                <c:pt idx="59">
                  <c:v>2032</c:v>
                </c:pt>
                <c:pt idx="60">
                  <c:v>2033</c:v>
                </c:pt>
                <c:pt idx="61">
                  <c:v>2034</c:v>
                </c:pt>
                <c:pt idx="62">
                  <c:v>2035</c:v>
                </c:pt>
                <c:pt idx="63">
                  <c:v>2036</c:v>
                </c:pt>
                <c:pt idx="64">
                  <c:v>2037</c:v>
                </c:pt>
                <c:pt idx="65">
                  <c:v>2038</c:v>
                </c:pt>
                <c:pt idx="66">
                  <c:v>2039</c:v>
                </c:pt>
                <c:pt idx="67">
                  <c:v>2040</c:v>
                </c:pt>
                <c:pt idx="68">
                  <c:v>2041</c:v>
                </c:pt>
                <c:pt idx="69">
                  <c:v>2042</c:v>
                </c:pt>
                <c:pt idx="70">
                  <c:v>2043</c:v>
                </c:pt>
                <c:pt idx="71">
                  <c:v>2044</c:v>
                </c:pt>
                <c:pt idx="72">
                  <c:v>2045</c:v>
                </c:pt>
                <c:pt idx="73">
                  <c:v>2046</c:v>
                </c:pt>
                <c:pt idx="74">
                  <c:v>2047</c:v>
                </c:pt>
                <c:pt idx="75">
                  <c:v>2048</c:v>
                </c:pt>
                <c:pt idx="76">
                  <c:v>2049</c:v>
                </c:pt>
                <c:pt idx="77">
                  <c:v>2050</c:v>
                </c:pt>
              </c:numCache>
            </c:numRef>
          </c:cat>
          <c:val>
            <c:numRef>
              <c:f>Foglio1!$BW$3:$EV$3</c:f>
              <c:numCache>
                <c:formatCode>0.00</c:formatCode>
                <c:ptCount val="78"/>
                <c:pt idx="0">
                  <c:v>16.217903301130782</c:v>
                </c:pt>
                <c:pt idx="1">
                  <c:v>16.082308846959187</c:v>
                </c:pt>
                <c:pt idx="2">
                  <c:v>15.18475469084694</c:v>
                </c:pt>
                <c:pt idx="3">
                  <c:v>14.47206009728283</c:v>
                </c:pt>
                <c:pt idx="4">
                  <c:v>13.533650927878986</c:v>
                </c:pt>
                <c:pt idx="5">
                  <c:v>12.831326954327229</c:v>
                </c:pt>
                <c:pt idx="6">
                  <c:v>12.123034357454825</c:v>
                </c:pt>
                <c:pt idx="7">
                  <c:v>11.646868350764276</c:v>
                </c:pt>
                <c:pt idx="8">
                  <c:v>11.115016986724811</c:v>
                </c:pt>
                <c:pt idx="9">
                  <c:v>11.224587562356254</c:v>
                </c:pt>
                <c:pt idx="10">
                  <c:v>10.836136025138501</c:v>
                </c:pt>
                <c:pt idx="11">
                  <c:v>10.561941751375539</c:v>
                </c:pt>
                <c:pt idx="12">
                  <c:v>10.411751643589017</c:v>
                </c:pt>
                <c:pt idx="13">
                  <c:v>9.9390497464006167</c:v>
                </c:pt>
                <c:pt idx="14">
                  <c:v>9.8983372139724359</c:v>
                </c:pt>
                <c:pt idx="15">
                  <c:v>10.204189747185238</c:v>
                </c:pt>
                <c:pt idx="16">
                  <c:v>10.009708447399143</c:v>
                </c:pt>
                <c:pt idx="17">
                  <c:v>10.239224029088049</c:v>
                </c:pt>
                <c:pt idx="18">
                  <c:v>9.7900169638766545</c:v>
                </c:pt>
                <c:pt idx="19">
                  <c:v>10.127561736815496</c:v>
                </c:pt>
                <c:pt idx="20">
                  <c:v>9.7231971504133217</c:v>
                </c:pt>
                <c:pt idx="21">
                  <c:v>9.4411136561148687</c:v>
                </c:pt>
                <c:pt idx="22">
                  <c:v>9.2544718971615492</c:v>
                </c:pt>
                <c:pt idx="23">
                  <c:v>9.4396298308799231</c:v>
                </c:pt>
                <c:pt idx="24">
                  <c:v>9.4927838535911118</c:v>
                </c:pt>
                <c:pt idx="25">
                  <c:v>9.3634420553036719</c:v>
                </c:pt>
                <c:pt idx="26">
                  <c:v>9.4391561688641588</c:v>
                </c:pt>
                <c:pt idx="27">
                  <c:v>9.5366859266959345</c:v>
                </c:pt>
                <c:pt idx="28">
                  <c:v>9.3946673457217127</c:v>
                </c:pt>
                <c:pt idx="29">
                  <c:v>9.4323058358893785</c:v>
                </c:pt>
                <c:pt idx="30">
                  <c:v>9.4928039530437687</c:v>
                </c:pt>
                <c:pt idx="31">
                  <c:v>9.7528961719580458</c:v>
                </c:pt>
                <c:pt idx="32">
                  <c:v>9.5571319002695621</c:v>
                </c:pt>
                <c:pt idx="33">
                  <c:v>9.6314357846063476</c:v>
                </c:pt>
                <c:pt idx="34">
                  <c:v>9.6500566978242244</c:v>
                </c:pt>
                <c:pt idx="35">
                  <c:v>9.8026695534269059</c:v>
                </c:pt>
                <c:pt idx="36">
                  <c:v>9.6260849698287245</c:v>
                </c:pt>
                <c:pt idx="37">
                  <c:v>9.4799003259529702</c:v>
                </c:pt>
                <c:pt idx="38">
                  <c:v>9.2049524508466938</c:v>
                </c:pt>
                <c:pt idx="39">
                  <c:v>8.9719270919611525</c:v>
                </c:pt>
                <c:pt idx="40">
                  <c:v>8.5</c:v>
                </c:pt>
                <c:pt idx="41">
                  <c:v>8.2678583707550395</c:v>
                </c:pt>
                <c:pt idx="42" formatCode="General">
                  <c:v>8</c:v>
                </c:pt>
                <c:pt idx="43" formatCode="General">
                  <c:v>7.8</c:v>
                </c:pt>
                <c:pt idx="44" formatCode="General">
                  <c:v>7.6</c:v>
                </c:pt>
                <c:pt idx="45" formatCode="General">
                  <c:v>7.3</c:v>
                </c:pt>
                <c:pt idx="46" formatCode="General">
                  <c:v>7</c:v>
                </c:pt>
                <c:pt idx="47" formatCode="General">
                  <c:v>6.8</c:v>
                </c:pt>
                <c:pt idx="48" formatCode="General">
                  <c:v>6.8</c:v>
                </c:pt>
                <c:pt idx="49" formatCode="General">
                  <c:v>6.7</c:v>
                </c:pt>
                <c:pt idx="50" formatCode="General">
                  <c:v>6.4</c:v>
                </c:pt>
                <c:pt idx="51" formatCode="General">
                  <c:v>6.3</c:v>
                </c:pt>
                <c:pt idx="52" formatCode="General">
                  <c:v>6.3</c:v>
                </c:pt>
                <c:pt idx="53" formatCode="General">
                  <c:v>6.3</c:v>
                </c:pt>
                <c:pt idx="54" formatCode="General">
                  <c:v>6.3</c:v>
                </c:pt>
                <c:pt idx="55" formatCode="General">
                  <c:v>6.2</c:v>
                </c:pt>
                <c:pt idx="56" formatCode="General">
                  <c:v>6.2</c:v>
                </c:pt>
                <c:pt idx="57" formatCode="General">
                  <c:v>6.3</c:v>
                </c:pt>
                <c:pt idx="58" formatCode="General">
                  <c:v>6.3</c:v>
                </c:pt>
                <c:pt idx="59" formatCode="General">
                  <c:v>6.3</c:v>
                </c:pt>
                <c:pt idx="60" formatCode="General">
                  <c:v>6.3</c:v>
                </c:pt>
                <c:pt idx="61" formatCode="General">
                  <c:v>6.3</c:v>
                </c:pt>
                <c:pt idx="62" formatCode="General">
                  <c:v>6.3</c:v>
                </c:pt>
                <c:pt idx="63" formatCode="General">
                  <c:v>6.3</c:v>
                </c:pt>
                <c:pt idx="64" formatCode="General">
                  <c:v>6.3</c:v>
                </c:pt>
                <c:pt idx="65" formatCode="General">
                  <c:v>6.3</c:v>
                </c:pt>
                <c:pt idx="66" formatCode="General">
                  <c:v>6.3</c:v>
                </c:pt>
                <c:pt idx="67" formatCode="General">
                  <c:v>6.3</c:v>
                </c:pt>
                <c:pt idx="68" formatCode="General">
                  <c:v>6.3</c:v>
                </c:pt>
                <c:pt idx="69" formatCode="General">
                  <c:v>6.3</c:v>
                </c:pt>
                <c:pt idx="70" formatCode="General">
                  <c:v>6.2</c:v>
                </c:pt>
                <c:pt idx="71" formatCode="General">
                  <c:v>6.2</c:v>
                </c:pt>
                <c:pt idx="72" formatCode="General">
                  <c:v>6.1</c:v>
                </c:pt>
                <c:pt idx="73" formatCode="General">
                  <c:v>6.1</c:v>
                </c:pt>
                <c:pt idx="74" formatCode="General">
                  <c:v>6</c:v>
                </c:pt>
                <c:pt idx="75" formatCode="General">
                  <c:v>5.9</c:v>
                </c:pt>
                <c:pt idx="76" formatCode="General">
                  <c:v>5.8</c:v>
                </c:pt>
                <c:pt idx="77" formatCode="General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5E9-4EF8-A4AE-DCCBF3677904}"/>
            </c:ext>
          </c:extLst>
        </c:ser>
        <c:ser>
          <c:idx val="1"/>
          <c:order val="1"/>
          <c:tx>
            <c:strRef>
              <c:f>Foglio1!$A$4</c:f>
              <c:strCache>
                <c:ptCount val="1"/>
                <c:pt idx="0">
                  <c:v>Mortality rat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diamond"/>
              <c:size val="5"/>
              <c:spPr>
                <a:solidFill>
                  <a:schemeClr val="accent2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5E9-4EF8-A4AE-DCCBF3677904}"/>
              </c:ext>
            </c:extLst>
          </c:dPt>
          <c:dPt>
            <c:idx val="50"/>
            <c:marker>
              <c:symbol val="diamond"/>
              <c:size val="5"/>
              <c:spPr>
                <a:solidFill>
                  <a:schemeClr val="accent2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5E9-4EF8-A4AE-DCCBF3677904}"/>
              </c:ext>
            </c:extLst>
          </c:dPt>
          <c:dPt>
            <c:idx val="77"/>
            <c:marker>
              <c:symbol val="diamond"/>
              <c:size val="5"/>
              <c:spPr>
                <a:solidFill>
                  <a:schemeClr val="accent2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5E9-4EF8-A4AE-DCCBF3677904}"/>
              </c:ext>
            </c:extLst>
          </c:dPt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5E9-4EF8-A4AE-DCCBF3677904}"/>
                </c:ext>
              </c:extLst>
            </c:dLbl>
            <c:dLbl>
              <c:idx val="5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5E9-4EF8-A4AE-DCCBF3677904}"/>
                </c:ext>
              </c:extLst>
            </c:dLbl>
            <c:dLbl>
              <c:idx val="7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5E9-4EF8-A4AE-DCCBF367790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W$2:$EV$2</c:f>
              <c:numCache>
                <c:formatCode>General</c:formatCode>
                <c:ptCount val="78"/>
                <c:pt idx="0">
                  <c:v>1973</c:v>
                </c:pt>
                <c:pt idx="1">
                  <c:v>1974</c:v>
                </c:pt>
                <c:pt idx="2">
                  <c:v>1975</c:v>
                </c:pt>
                <c:pt idx="3">
                  <c:v>1976</c:v>
                </c:pt>
                <c:pt idx="4">
                  <c:v>1977</c:v>
                </c:pt>
                <c:pt idx="5">
                  <c:v>1978</c:v>
                </c:pt>
                <c:pt idx="6">
                  <c:v>1979</c:v>
                </c:pt>
                <c:pt idx="7">
                  <c:v>1980</c:v>
                </c:pt>
                <c:pt idx="8">
                  <c:v>1981</c:v>
                </c:pt>
                <c:pt idx="9">
                  <c:v>1982</c:v>
                </c:pt>
                <c:pt idx="10">
                  <c:v>1983</c:v>
                </c:pt>
                <c:pt idx="11">
                  <c:v>1984</c:v>
                </c:pt>
                <c:pt idx="12">
                  <c:v>1985</c:v>
                </c:pt>
                <c:pt idx="13">
                  <c:v>1986</c:v>
                </c:pt>
                <c:pt idx="14">
                  <c:v>1987</c:v>
                </c:pt>
                <c:pt idx="15">
                  <c:v>1988</c:v>
                </c:pt>
                <c:pt idx="16">
                  <c:v>1989</c:v>
                </c:pt>
                <c:pt idx="17">
                  <c:v>1990</c:v>
                </c:pt>
                <c:pt idx="18">
                  <c:v>1991</c:v>
                </c:pt>
                <c:pt idx="19">
                  <c:v>1992</c:v>
                </c:pt>
                <c:pt idx="20">
                  <c:v>1993</c:v>
                </c:pt>
                <c:pt idx="21">
                  <c:v>1994</c:v>
                </c:pt>
                <c:pt idx="22">
                  <c:v>1995</c:v>
                </c:pt>
                <c:pt idx="23">
                  <c:v>1996</c:v>
                </c:pt>
                <c:pt idx="24">
                  <c:v>1997</c:v>
                </c:pt>
                <c:pt idx="25">
                  <c:v>1998</c:v>
                </c:pt>
                <c:pt idx="26">
                  <c:v>1999</c:v>
                </c:pt>
                <c:pt idx="27">
                  <c:v>2000</c:v>
                </c:pt>
                <c:pt idx="28">
                  <c:v>2001</c:v>
                </c:pt>
                <c:pt idx="29">
                  <c:v>2002</c:v>
                </c:pt>
                <c:pt idx="30">
                  <c:v>2003</c:v>
                </c:pt>
                <c:pt idx="31">
                  <c:v>2004</c:v>
                </c:pt>
                <c:pt idx="32">
                  <c:v>2005</c:v>
                </c:pt>
                <c:pt idx="33">
                  <c:v>2006</c:v>
                </c:pt>
                <c:pt idx="34">
                  <c:v>2007</c:v>
                </c:pt>
                <c:pt idx="35">
                  <c:v>2008</c:v>
                </c:pt>
                <c:pt idx="36">
                  <c:v>2009</c:v>
                </c:pt>
                <c:pt idx="37">
                  <c:v>2010</c:v>
                </c:pt>
                <c:pt idx="38">
                  <c:v>2011</c:v>
                </c:pt>
                <c:pt idx="39">
                  <c:v>2012</c:v>
                </c:pt>
                <c:pt idx="40">
                  <c:v>2013</c:v>
                </c:pt>
                <c:pt idx="41">
                  <c:v>2014</c:v>
                </c:pt>
                <c:pt idx="42">
                  <c:v>2015</c:v>
                </c:pt>
                <c:pt idx="43">
                  <c:v>2016</c:v>
                </c:pt>
                <c:pt idx="44">
                  <c:v>2017</c:v>
                </c:pt>
                <c:pt idx="45">
                  <c:v>2018</c:v>
                </c:pt>
                <c:pt idx="46">
                  <c:v>2019</c:v>
                </c:pt>
                <c:pt idx="47">
                  <c:v>2020</c:v>
                </c:pt>
                <c:pt idx="48">
                  <c:v>2021</c:v>
                </c:pt>
                <c:pt idx="49">
                  <c:v>2022</c:v>
                </c:pt>
                <c:pt idx="50">
                  <c:v>2023</c:v>
                </c:pt>
                <c:pt idx="51">
                  <c:v>2024</c:v>
                </c:pt>
                <c:pt idx="52">
                  <c:v>2025</c:v>
                </c:pt>
                <c:pt idx="53">
                  <c:v>2026</c:v>
                </c:pt>
                <c:pt idx="54">
                  <c:v>2027</c:v>
                </c:pt>
                <c:pt idx="55">
                  <c:v>2028</c:v>
                </c:pt>
                <c:pt idx="56">
                  <c:v>2029</c:v>
                </c:pt>
                <c:pt idx="57">
                  <c:v>2030</c:v>
                </c:pt>
                <c:pt idx="58">
                  <c:v>2031</c:v>
                </c:pt>
                <c:pt idx="59">
                  <c:v>2032</c:v>
                </c:pt>
                <c:pt idx="60">
                  <c:v>2033</c:v>
                </c:pt>
                <c:pt idx="61">
                  <c:v>2034</c:v>
                </c:pt>
                <c:pt idx="62">
                  <c:v>2035</c:v>
                </c:pt>
                <c:pt idx="63">
                  <c:v>2036</c:v>
                </c:pt>
                <c:pt idx="64">
                  <c:v>2037</c:v>
                </c:pt>
                <c:pt idx="65">
                  <c:v>2038</c:v>
                </c:pt>
                <c:pt idx="66">
                  <c:v>2039</c:v>
                </c:pt>
                <c:pt idx="67">
                  <c:v>2040</c:v>
                </c:pt>
                <c:pt idx="68">
                  <c:v>2041</c:v>
                </c:pt>
                <c:pt idx="69">
                  <c:v>2042</c:v>
                </c:pt>
                <c:pt idx="70">
                  <c:v>2043</c:v>
                </c:pt>
                <c:pt idx="71">
                  <c:v>2044</c:v>
                </c:pt>
                <c:pt idx="72">
                  <c:v>2045</c:v>
                </c:pt>
                <c:pt idx="73">
                  <c:v>2046</c:v>
                </c:pt>
                <c:pt idx="74">
                  <c:v>2047</c:v>
                </c:pt>
                <c:pt idx="75">
                  <c:v>2048</c:v>
                </c:pt>
                <c:pt idx="76">
                  <c:v>2049</c:v>
                </c:pt>
                <c:pt idx="77">
                  <c:v>2050</c:v>
                </c:pt>
              </c:numCache>
            </c:numRef>
          </c:cat>
          <c:val>
            <c:numRef>
              <c:f>Foglio1!$BW$4:$EV$4</c:f>
              <c:numCache>
                <c:formatCode>0.00</c:formatCode>
                <c:ptCount val="78"/>
                <c:pt idx="0">
                  <c:v>9.9442378698387941</c:v>
                </c:pt>
                <c:pt idx="1">
                  <c:v>9.6669317565457327</c:v>
                </c:pt>
                <c:pt idx="2">
                  <c:v>10.029021662144952</c:v>
                </c:pt>
                <c:pt idx="3">
                  <c:v>9.9813419333387472</c:v>
                </c:pt>
                <c:pt idx="4">
                  <c:v>9.7758374073956844</c:v>
                </c:pt>
                <c:pt idx="5">
                  <c:v>9.6106068147667258</c:v>
                </c:pt>
                <c:pt idx="6">
                  <c:v>9.6208569133405621</c:v>
                </c:pt>
                <c:pt idx="7">
                  <c:v>9.9120594795156958</c:v>
                </c:pt>
                <c:pt idx="8">
                  <c:v>9.569298909287431</c:v>
                </c:pt>
                <c:pt idx="9">
                  <c:v>9.5099622109843747</c:v>
                </c:pt>
                <c:pt idx="10">
                  <c:v>9.9675811894312982</c:v>
                </c:pt>
                <c:pt idx="11">
                  <c:v>9.4678698046783119</c:v>
                </c:pt>
                <c:pt idx="12">
                  <c:v>9.7101816581043998</c:v>
                </c:pt>
                <c:pt idx="13">
                  <c:v>9.6329688827801103</c:v>
                </c:pt>
                <c:pt idx="14">
                  <c:v>9.4518506797939459</c:v>
                </c:pt>
                <c:pt idx="15">
                  <c:v>9.4923496124478906</c:v>
                </c:pt>
                <c:pt idx="16">
                  <c:v>9.3795711959323391</c:v>
                </c:pt>
                <c:pt idx="17">
                  <c:v>9.5981011875168054</c:v>
                </c:pt>
                <c:pt idx="18">
                  <c:v>9.6308208234149291</c:v>
                </c:pt>
                <c:pt idx="19">
                  <c:v>9.5962316658619446</c:v>
                </c:pt>
                <c:pt idx="20">
                  <c:v>9.7664123766155591</c:v>
                </c:pt>
                <c:pt idx="21">
                  <c:v>9.8078756724615346</c:v>
                </c:pt>
                <c:pt idx="22">
                  <c:v>9.7670826377014652</c:v>
                </c:pt>
                <c:pt idx="23">
                  <c:v>9.8092375749008127</c:v>
                </c:pt>
                <c:pt idx="24">
                  <c:v>9.9257393669858534</c:v>
                </c:pt>
                <c:pt idx="25">
                  <c:v>10.137831818316647</c:v>
                </c:pt>
                <c:pt idx="26">
                  <c:v>10.038527352696832</c:v>
                </c:pt>
                <c:pt idx="27">
                  <c:v>9.8387822242197291</c:v>
                </c:pt>
                <c:pt idx="28">
                  <c:v>9.622337293167547</c:v>
                </c:pt>
                <c:pt idx="29">
                  <c:v>9.7687119736303156</c:v>
                </c:pt>
                <c:pt idx="30">
                  <c:v>10.232685826335686</c:v>
                </c:pt>
                <c:pt idx="31">
                  <c:v>9.47655206562799</c:v>
                </c:pt>
                <c:pt idx="32">
                  <c:v>9.7862524512573934</c:v>
                </c:pt>
                <c:pt idx="33">
                  <c:v>9.5950089690284184</c:v>
                </c:pt>
                <c:pt idx="34">
                  <c:v>9.7675823425385033</c:v>
                </c:pt>
                <c:pt idx="35">
                  <c:v>9.946600720908668</c:v>
                </c:pt>
                <c:pt idx="36">
                  <c:v>10.012003564171264</c:v>
                </c:pt>
                <c:pt idx="37">
                  <c:v>9.910823289675589</c:v>
                </c:pt>
                <c:pt idx="38">
                  <c:v>9.9933902215343071</c:v>
                </c:pt>
                <c:pt idx="39">
                  <c:v>10.293683458387953</c:v>
                </c:pt>
                <c:pt idx="40">
                  <c:v>10</c:v>
                </c:pt>
                <c:pt idx="41">
                  <c:v>9.8432713474808153</c:v>
                </c:pt>
                <c:pt idx="42">
                  <c:v>10.8</c:v>
                </c:pt>
                <c:pt idx="43">
                  <c:v>10.199999999999999</c:v>
                </c:pt>
                <c:pt idx="44">
                  <c:v>10.8</c:v>
                </c:pt>
                <c:pt idx="45">
                  <c:v>10.6</c:v>
                </c:pt>
                <c:pt idx="46">
                  <c:v>10.6</c:v>
                </c:pt>
                <c:pt idx="47">
                  <c:v>12.5</c:v>
                </c:pt>
                <c:pt idx="48">
                  <c:v>11.9</c:v>
                </c:pt>
                <c:pt idx="49">
                  <c:v>12.1</c:v>
                </c:pt>
                <c:pt idx="50">
                  <c:v>11.2</c:v>
                </c:pt>
                <c:pt idx="51" formatCode="General">
                  <c:v>11.1</c:v>
                </c:pt>
                <c:pt idx="52" formatCode="General">
                  <c:v>11.2</c:v>
                </c:pt>
                <c:pt idx="53" formatCode="General">
                  <c:v>11.3</c:v>
                </c:pt>
                <c:pt idx="54" formatCode="General">
                  <c:v>11.4</c:v>
                </c:pt>
                <c:pt idx="55" formatCode="General">
                  <c:v>11.5</c:v>
                </c:pt>
                <c:pt idx="56" formatCode="General">
                  <c:v>11.6</c:v>
                </c:pt>
                <c:pt idx="57" formatCode="General">
                  <c:v>11.7</c:v>
                </c:pt>
                <c:pt idx="58" formatCode="General">
                  <c:v>11.7</c:v>
                </c:pt>
                <c:pt idx="59" formatCode="General">
                  <c:v>11.8</c:v>
                </c:pt>
                <c:pt idx="60" formatCode="General">
                  <c:v>11.9</c:v>
                </c:pt>
                <c:pt idx="61" formatCode="General">
                  <c:v>12</c:v>
                </c:pt>
                <c:pt idx="62" formatCode="General">
                  <c:v>12</c:v>
                </c:pt>
                <c:pt idx="63" formatCode="General">
                  <c:v>12.1</c:v>
                </c:pt>
                <c:pt idx="64" formatCode="General">
                  <c:v>12.2</c:v>
                </c:pt>
                <c:pt idx="65" formatCode="General">
                  <c:v>12.3</c:v>
                </c:pt>
                <c:pt idx="66" formatCode="General">
                  <c:v>12.4</c:v>
                </c:pt>
                <c:pt idx="67" formatCode="General">
                  <c:v>12.5</c:v>
                </c:pt>
                <c:pt idx="68" formatCode="General">
                  <c:v>12.6</c:v>
                </c:pt>
                <c:pt idx="69" formatCode="General">
                  <c:v>12.7</c:v>
                </c:pt>
                <c:pt idx="70" formatCode="General">
                  <c:v>12.8</c:v>
                </c:pt>
                <c:pt idx="71" formatCode="General">
                  <c:v>12.9</c:v>
                </c:pt>
                <c:pt idx="72" formatCode="General">
                  <c:v>13.1</c:v>
                </c:pt>
                <c:pt idx="73" formatCode="General">
                  <c:v>13.2</c:v>
                </c:pt>
                <c:pt idx="74" formatCode="General">
                  <c:v>13.4</c:v>
                </c:pt>
                <c:pt idx="75" formatCode="General">
                  <c:v>13.5</c:v>
                </c:pt>
                <c:pt idx="76" formatCode="General">
                  <c:v>13.7</c:v>
                </c:pt>
                <c:pt idx="77" formatCode="General">
                  <c:v>13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5E9-4EF8-A4AE-DCCBF36779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1612287"/>
        <c:axId val="1481204143"/>
      </c:lineChart>
      <c:catAx>
        <c:axId val="1481612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81204143"/>
        <c:crosses val="autoZero"/>
        <c:auto val="1"/>
        <c:lblAlgn val="ctr"/>
        <c:lblOffset val="100"/>
        <c:tickLblSkip val="7"/>
        <c:noMultiLvlLbl val="0"/>
      </c:catAx>
      <c:valAx>
        <c:axId val="1481204143"/>
        <c:scaling>
          <c:orientation val="minMax"/>
          <c:min val="5"/>
        </c:scaling>
        <c:delete val="0"/>
        <c:axPos val="l"/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81612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1E60"/>
          </a:solidFill>
          <a:latin typeface="Arial Nova Cond" panose="020B0506020202020204" pitchFamily="34" charset="0"/>
        </a:defRPr>
      </a:pPr>
      <a:endParaRPr lang="it-I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47B20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44C-4DEB-8A4F-6C211F9EEC3A}"/>
                </c:ext>
              </c:extLst>
            </c:dLbl>
            <c:dLbl>
              <c:idx val="24"/>
              <c:layout>
                <c:manualLayout>
                  <c:x val="-2.004718894300192E-2"/>
                  <c:y val="-5.25100575366108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44C-4DEB-8A4F-6C211F9EEC3A}"/>
                </c:ext>
              </c:extLst>
            </c:dLbl>
            <c:dLbl>
              <c:idx val="50"/>
              <c:layout>
                <c:manualLayout>
                  <c:x val="-1.7819723504890559E-2"/>
                  <c:y val="-3.75071839547220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44C-4DEB-8A4F-6C211F9EEC3A}"/>
                </c:ext>
              </c:extLst>
            </c:dLbl>
            <c:dLbl>
              <c:idx val="8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44C-4DEB-8A4F-6C211F9EEC3A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F47B2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4!$B$2:$CD$2</c:f>
              <c:numCache>
                <c:formatCode>General</c:formatCode>
                <c:ptCount val="8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  <c:pt idx="51">
                  <c:v>2051</c:v>
                </c:pt>
                <c:pt idx="52">
                  <c:v>2052</c:v>
                </c:pt>
                <c:pt idx="53">
                  <c:v>2053</c:v>
                </c:pt>
                <c:pt idx="54">
                  <c:v>2054</c:v>
                </c:pt>
                <c:pt idx="55">
                  <c:v>2055</c:v>
                </c:pt>
                <c:pt idx="56">
                  <c:v>2056</c:v>
                </c:pt>
                <c:pt idx="57">
                  <c:v>2057</c:v>
                </c:pt>
                <c:pt idx="58">
                  <c:v>2058</c:v>
                </c:pt>
                <c:pt idx="59">
                  <c:v>2059</c:v>
                </c:pt>
                <c:pt idx="60">
                  <c:v>2060</c:v>
                </c:pt>
                <c:pt idx="61">
                  <c:v>2061</c:v>
                </c:pt>
                <c:pt idx="62">
                  <c:v>2062</c:v>
                </c:pt>
                <c:pt idx="63">
                  <c:v>2063</c:v>
                </c:pt>
                <c:pt idx="64">
                  <c:v>2064</c:v>
                </c:pt>
                <c:pt idx="65">
                  <c:v>2065</c:v>
                </c:pt>
                <c:pt idx="66">
                  <c:v>2066</c:v>
                </c:pt>
                <c:pt idx="67">
                  <c:v>2067</c:v>
                </c:pt>
                <c:pt idx="68">
                  <c:v>2068</c:v>
                </c:pt>
                <c:pt idx="69">
                  <c:v>2069</c:v>
                </c:pt>
                <c:pt idx="70">
                  <c:v>2070</c:v>
                </c:pt>
                <c:pt idx="71">
                  <c:v>2071</c:v>
                </c:pt>
                <c:pt idx="72">
                  <c:v>2072</c:v>
                </c:pt>
                <c:pt idx="73">
                  <c:v>2073</c:v>
                </c:pt>
                <c:pt idx="74">
                  <c:v>2074</c:v>
                </c:pt>
                <c:pt idx="75">
                  <c:v>2075</c:v>
                </c:pt>
                <c:pt idx="76">
                  <c:v>2076</c:v>
                </c:pt>
                <c:pt idx="77">
                  <c:v>2077</c:v>
                </c:pt>
                <c:pt idx="78">
                  <c:v>2078</c:v>
                </c:pt>
                <c:pt idx="79">
                  <c:v>2079</c:v>
                </c:pt>
                <c:pt idx="80">
                  <c:v>2080</c:v>
                </c:pt>
              </c:numCache>
            </c:numRef>
          </c:cat>
          <c:val>
            <c:numRef>
              <c:f>Foglio4!$B$4:$CD$4</c:f>
              <c:numCache>
                <c:formatCode>General</c:formatCode>
                <c:ptCount val="81"/>
                <c:pt idx="0">
                  <c:v>56.942107999999998</c:v>
                </c:pt>
                <c:pt idx="1">
                  <c:v>56.974099500000001</c:v>
                </c:pt>
                <c:pt idx="2">
                  <c:v>57.059006500000002</c:v>
                </c:pt>
                <c:pt idx="3">
                  <c:v>57.313203000000001</c:v>
                </c:pt>
                <c:pt idx="4">
                  <c:v>57.685326500000002</c:v>
                </c:pt>
                <c:pt idx="5">
                  <c:v>57.969483500000003</c:v>
                </c:pt>
                <c:pt idx="6">
                  <c:v>58.143979000000002</c:v>
                </c:pt>
                <c:pt idx="7">
                  <c:v>58.438309500000003</c:v>
                </c:pt>
                <c:pt idx="8">
                  <c:v>58.826730499999996</c:v>
                </c:pt>
                <c:pt idx="9">
                  <c:v>59.095364500000002</c:v>
                </c:pt>
                <c:pt idx="10">
                  <c:v>59.277416500000001</c:v>
                </c:pt>
                <c:pt idx="11">
                  <c:v>59.379448500000002</c:v>
                </c:pt>
                <c:pt idx="12">
                  <c:v>59.539717000000003</c:v>
                </c:pt>
                <c:pt idx="13">
                  <c:v>60.233947499999999</c:v>
                </c:pt>
                <c:pt idx="14">
                  <c:v>60.789140000000003</c:v>
                </c:pt>
                <c:pt idx="15">
                  <c:v>60.295496999999997</c:v>
                </c:pt>
                <c:pt idx="16">
                  <c:v>60.163711999999997</c:v>
                </c:pt>
                <c:pt idx="17">
                  <c:v>60.066733999999997</c:v>
                </c:pt>
                <c:pt idx="18">
                  <c:v>60.066733999999997</c:v>
                </c:pt>
                <c:pt idx="19">
                  <c:v>59.816673000000002</c:v>
                </c:pt>
                <c:pt idx="20">
                  <c:v>59.641488000000003</c:v>
                </c:pt>
                <c:pt idx="21">
                  <c:v>59.236212999999999</c:v>
                </c:pt>
                <c:pt idx="22">
                  <c:v>59.030132999999999</c:v>
                </c:pt>
                <c:pt idx="23">
                  <c:v>58.997200999999997</c:v>
                </c:pt>
                <c:pt idx="24">
                  <c:v>58.971229999999998</c:v>
                </c:pt>
                <c:pt idx="25">
                  <c:v>58.962775000000001</c:v>
                </c:pt>
                <c:pt idx="26">
                  <c:v>58.915807999999998</c:v>
                </c:pt>
                <c:pt idx="27">
                  <c:v>58.850343000000002</c:v>
                </c:pt>
                <c:pt idx="28">
                  <c:v>58.768307</c:v>
                </c:pt>
                <c:pt idx="29">
                  <c:v>58.670689000000003</c:v>
                </c:pt>
                <c:pt idx="30">
                  <c:v>58.558680000000003</c:v>
                </c:pt>
                <c:pt idx="31">
                  <c:v>58.435206999999998</c:v>
                </c:pt>
                <c:pt idx="32">
                  <c:v>58.302404000000003</c:v>
                </c:pt>
                <c:pt idx="33">
                  <c:v>58.160910999999999</c:v>
                </c:pt>
                <c:pt idx="34">
                  <c:v>58.013112</c:v>
                </c:pt>
                <c:pt idx="35">
                  <c:v>57.860264999999998</c:v>
                </c:pt>
                <c:pt idx="36">
                  <c:v>57.701835000000003</c:v>
                </c:pt>
                <c:pt idx="37">
                  <c:v>57.538066000000001</c:v>
                </c:pt>
                <c:pt idx="38">
                  <c:v>57.368952</c:v>
                </c:pt>
                <c:pt idx="39">
                  <c:v>57.195737999999999</c:v>
                </c:pt>
                <c:pt idx="40">
                  <c:v>57.018231</c:v>
                </c:pt>
                <c:pt idx="41">
                  <c:v>56.835500000000003</c:v>
                </c:pt>
                <c:pt idx="42">
                  <c:v>56.646675000000002</c:v>
                </c:pt>
                <c:pt idx="43">
                  <c:v>56.450969999999998</c:v>
                </c:pt>
                <c:pt idx="44">
                  <c:v>56.247827999999998</c:v>
                </c:pt>
                <c:pt idx="45">
                  <c:v>56.036639000000001</c:v>
                </c:pt>
                <c:pt idx="46">
                  <c:v>55.815826000000001</c:v>
                </c:pt>
                <c:pt idx="47">
                  <c:v>55.584226999999998</c:v>
                </c:pt>
                <c:pt idx="48">
                  <c:v>55.341064000000003</c:v>
                </c:pt>
                <c:pt idx="49">
                  <c:v>55.085954000000001</c:v>
                </c:pt>
                <c:pt idx="50">
                  <c:v>54.818129999999996</c:v>
                </c:pt>
                <c:pt idx="51">
                  <c:v>54.538013999999997</c:v>
                </c:pt>
                <c:pt idx="52">
                  <c:v>54.244466000000003</c:v>
                </c:pt>
                <c:pt idx="53">
                  <c:v>53.939027000000003</c:v>
                </c:pt>
                <c:pt idx="54">
                  <c:v>53.622568999999999</c:v>
                </c:pt>
                <c:pt idx="55">
                  <c:v>53.295352000000001</c:v>
                </c:pt>
                <c:pt idx="56">
                  <c:v>52.959738000000002</c:v>
                </c:pt>
                <c:pt idx="57">
                  <c:v>52.616244000000002</c:v>
                </c:pt>
                <c:pt idx="58">
                  <c:v>52.267909000000003</c:v>
                </c:pt>
                <c:pt idx="59">
                  <c:v>51.916153000000001</c:v>
                </c:pt>
                <c:pt idx="60">
                  <c:v>51.562961999999999</c:v>
                </c:pt>
                <c:pt idx="61">
                  <c:v>51.210281999999999</c:v>
                </c:pt>
                <c:pt idx="62">
                  <c:v>50.860008999999998</c:v>
                </c:pt>
                <c:pt idx="63">
                  <c:v>50.514373999999997</c:v>
                </c:pt>
                <c:pt idx="64">
                  <c:v>50.175406000000002</c:v>
                </c:pt>
                <c:pt idx="65">
                  <c:v>49.844819999999999</c:v>
                </c:pt>
                <c:pt idx="66">
                  <c:v>49.523642000000002</c:v>
                </c:pt>
                <c:pt idx="67">
                  <c:v>49.212372000000002</c:v>
                </c:pt>
                <c:pt idx="68">
                  <c:v>48.911498000000002</c:v>
                </c:pt>
                <c:pt idx="69">
                  <c:v>48.621353999999997</c:v>
                </c:pt>
                <c:pt idx="70">
                  <c:v>48.343246999999998</c:v>
                </c:pt>
                <c:pt idx="71">
                  <c:v>48.077095</c:v>
                </c:pt>
                <c:pt idx="72">
                  <c:v>47.820661000000001</c:v>
                </c:pt>
                <c:pt idx="73">
                  <c:v>47.575732000000002</c:v>
                </c:pt>
                <c:pt idx="74">
                  <c:v>47.340769999999999</c:v>
                </c:pt>
                <c:pt idx="75">
                  <c:v>47.114061</c:v>
                </c:pt>
                <c:pt idx="76">
                  <c:v>46.895327000000002</c:v>
                </c:pt>
                <c:pt idx="77">
                  <c:v>46.682619000000003</c:v>
                </c:pt>
                <c:pt idx="78">
                  <c:v>46.473761000000003</c:v>
                </c:pt>
                <c:pt idx="79">
                  <c:v>46.269939999999998</c:v>
                </c:pt>
                <c:pt idx="80">
                  <c:v>46.06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44C-4DEB-8A4F-6C211F9EEC3A}"/>
            </c:ext>
          </c:extLst>
        </c:ser>
        <c:ser>
          <c:idx val="1"/>
          <c:order val="1"/>
          <c:spPr>
            <a:ln w="28575" cap="rnd">
              <a:solidFill>
                <a:srgbClr val="001E60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50"/>
              <c:layout>
                <c:manualLayout>
                  <c:x val="-6.6823963143339592E-3"/>
                  <c:y val="-3.5006705024407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44C-4DEB-8A4F-6C211F9EEC3A}"/>
                </c:ext>
              </c:extLst>
            </c:dLbl>
            <c:dLbl>
              <c:idx val="8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44C-4DEB-8A4F-6C211F9EEC3A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4!$B$2:$CD$2</c:f>
              <c:numCache>
                <c:formatCode>General</c:formatCode>
                <c:ptCount val="8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  <c:pt idx="51">
                  <c:v>2051</c:v>
                </c:pt>
                <c:pt idx="52">
                  <c:v>2052</c:v>
                </c:pt>
                <c:pt idx="53">
                  <c:v>2053</c:v>
                </c:pt>
                <c:pt idx="54">
                  <c:v>2054</c:v>
                </c:pt>
                <c:pt idx="55">
                  <c:v>2055</c:v>
                </c:pt>
                <c:pt idx="56">
                  <c:v>2056</c:v>
                </c:pt>
                <c:pt idx="57">
                  <c:v>2057</c:v>
                </c:pt>
                <c:pt idx="58">
                  <c:v>2058</c:v>
                </c:pt>
                <c:pt idx="59">
                  <c:v>2059</c:v>
                </c:pt>
                <c:pt idx="60">
                  <c:v>2060</c:v>
                </c:pt>
                <c:pt idx="61">
                  <c:v>2061</c:v>
                </c:pt>
                <c:pt idx="62">
                  <c:v>2062</c:v>
                </c:pt>
                <c:pt idx="63">
                  <c:v>2063</c:v>
                </c:pt>
                <c:pt idx="64">
                  <c:v>2064</c:v>
                </c:pt>
                <c:pt idx="65">
                  <c:v>2065</c:v>
                </c:pt>
                <c:pt idx="66">
                  <c:v>2066</c:v>
                </c:pt>
                <c:pt idx="67">
                  <c:v>2067</c:v>
                </c:pt>
                <c:pt idx="68">
                  <c:v>2068</c:v>
                </c:pt>
                <c:pt idx="69">
                  <c:v>2069</c:v>
                </c:pt>
                <c:pt idx="70">
                  <c:v>2070</c:v>
                </c:pt>
                <c:pt idx="71">
                  <c:v>2071</c:v>
                </c:pt>
                <c:pt idx="72">
                  <c:v>2072</c:v>
                </c:pt>
                <c:pt idx="73">
                  <c:v>2073</c:v>
                </c:pt>
                <c:pt idx="74">
                  <c:v>2074</c:v>
                </c:pt>
                <c:pt idx="75">
                  <c:v>2075</c:v>
                </c:pt>
                <c:pt idx="76">
                  <c:v>2076</c:v>
                </c:pt>
                <c:pt idx="77">
                  <c:v>2077</c:v>
                </c:pt>
                <c:pt idx="78">
                  <c:v>2078</c:v>
                </c:pt>
                <c:pt idx="79">
                  <c:v>2079</c:v>
                </c:pt>
                <c:pt idx="80">
                  <c:v>2080</c:v>
                </c:pt>
              </c:numCache>
            </c:numRef>
          </c:cat>
          <c:val>
            <c:numRef>
              <c:f>Foglio4!$B$5:$CD$5</c:f>
              <c:numCache>
                <c:formatCode>General</c:formatCode>
                <c:ptCount val="81"/>
                <c:pt idx="0">
                  <c:v>56.942107999999998</c:v>
                </c:pt>
                <c:pt idx="1">
                  <c:v>56.974099500000001</c:v>
                </c:pt>
                <c:pt idx="2">
                  <c:v>57.059006500000002</c:v>
                </c:pt>
                <c:pt idx="3">
                  <c:v>57.313203000000001</c:v>
                </c:pt>
                <c:pt idx="4">
                  <c:v>57.685326500000002</c:v>
                </c:pt>
                <c:pt idx="5">
                  <c:v>57.969483500000003</c:v>
                </c:pt>
                <c:pt idx="6">
                  <c:v>58.143979000000002</c:v>
                </c:pt>
                <c:pt idx="7">
                  <c:v>58.438309500000003</c:v>
                </c:pt>
                <c:pt idx="8">
                  <c:v>58.826730499999996</c:v>
                </c:pt>
                <c:pt idx="9">
                  <c:v>59.095364500000002</c:v>
                </c:pt>
                <c:pt idx="10">
                  <c:v>59.277416500000001</c:v>
                </c:pt>
                <c:pt idx="11">
                  <c:v>59.379448500000002</c:v>
                </c:pt>
                <c:pt idx="12">
                  <c:v>59.539717000000003</c:v>
                </c:pt>
                <c:pt idx="13">
                  <c:v>60.233947499999999</c:v>
                </c:pt>
                <c:pt idx="14">
                  <c:v>60.789140000000003</c:v>
                </c:pt>
                <c:pt idx="15">
                  <c:v>60.295496999999997</c:v>
                </c:pt>
                <c:pt idx="16">
                  <c:v>60.163711999999997</c:v>
                </c:pt>
                <c:pt idx="17">
                  <c:v>60.066733999999997</c:v>
                </c:pt>
                <c:pt idx="18">
                  <c:v>60.066733999999997</c:v>
                </c:pt>
                <c:pt idx="19">
                  <c:v>59.816673000000002</c:v>
                </c:pt>
                <c:pt idx="20">
                  <c:v>59.641488000000003</c:v>
                </c:pt>
                <c:pt idx="21">
                  <c:v>59.236212999999999</c:v>
                </c:pt>
                <c:pt idx="22">
                  <c:v>59.030132999999999</c:v>
                </c:pt>
                <c:pt idx="23">
                  <c:v>58.997200999999997</c:v>
                </c:pt>
                <c:pt idx="24">
                  <c:v>58.971229999999998</c:v>
                </c:pt>
                <c:pt idx="25">
                  <c:v>59.004207000000001</c:v>
                </c:pt>
                <c:pt idx="26">
                  <c:v>58.988129000000001</c:v>
                </c:pt>
                <c:pt idx="27">
                  <c:v>58.959932999999999</c:v>
                </c:pt>
                <c:pt idx="28">
                  <c:v>58.921002999999999</c:v>
                </c:pt>
                <c:pt idx="29">
                  <c:v>58.871983</c:v>
                </c:pt>
                <c:pt idx="30">
                  <c:v>58.813585000000003</c:v>
                </c:pt>
                <c:pt idx="31">
                  <c:v>58.748291999999999</c:v>
                </c:pt>
                <c:pt idx="32">
                  <c:v>58.679008000000003</c:v>
                </c:pt>
                <c:pt idx="33">
                  <c:v>58.604716000000003</c:v>
                </c:pt>
                <c:pt idx="34">
                  <c:v>58.530321000000001</c:v>
                </c:pt>
                <c:pt idx="35">
                  <c:v>58.451217</c:v>
                </c:pt>
                <c:pt idx="36">
                  <c:v>58.374609</c:v>
                </c:pt>
                <c:pt idx="37">
                  <c:v>58.296745999999999</c:v>
                </c:pt>
                <c:pt idx="38">
                  <c:v>58.214694000000001</c:v>
                </c:pt>
                <c:pt idx="39">
                  <c:v>58.135966000000003</c:v>
                </c:pt>
                <c:pt idx="40">
                  <c:v>58.050753999999998</c:v>
                </c:pt>
                <c:pt idx="41">
                  <c:v>57.960566</c:v>
                </c:pt>
                <c:pt idx="42">
                  <c:v>57.868921</c:v>
                </c:pt>
                <c:pt idx="43">
                  <c:v>57.782401999999998</c:v>
                </c:pt>
                <c:pt idx="44">
                  <c:v>57.694834999999998</c:v>
                </c:pt>
                <c:pt idx="45">
                  <c:v>57.592548000000001</c:v>
                </c:pt>
                <c:pt idx="46">
                  <c:v>57.486198000000002</c:v>
                </c:pt>
                <c:pt idx="47">
                  <c:v>57.373009000000003</c:v>
                </c:pt>
                <c:pt idx="48">
                  <c:v>57.247261000000002</c:v>
                </c:pt>
                <c:pt idx="49">
                  <c:v>57.125818000000002</c:v>
                </c:pt>
                <c:pt idx="50">
                  <c:v>56.969732999999998</c:v>
                </c:pt>
                <c:pt idx="51">
                  <c:v>56.813929000000002</c:v>
                </c:pt>
                <c:pt idx="52">
                  <c:v>56.661895999999999</c:v>
                </c:pt>
                <c:pt idx="53">
                  <c:v>56.493070000000003</c:v>
                </c:pt>
                <c:pt idx="54">
                  <c:v>56.311535999999997</c:v>
                </c:pt>
                <c:pt idx="55">
                  <c:v>56.129862000000003</c:v>
                </c:pt>
                <c:pt idx="56">
                  <c:v>55.936691000000003</c:v>
                </c:pt>
                <c:pt idx="57">
                  <c:v>55.734808999999998</c:v>
                </c:pt>
                <c:pt idx="58">
                  <c:v>55.523656000000003</c:v>
                </c:pt>
                <c:pt idx="59">
                  <c:v>55.328265000000002</c:v>
                </c:pt>
                <c:pt idx="60">
                  <c:v>55.107283000000002</c:v>
                </c:pt>
                <c:pt idx="61">
                  <c:v>54.929071</c:v>
                </c:pt>
                <c:pt idx="62">
                  <c:v>54.758963999999999</c:v>
                </c:pt>
                <c:pt idx="63">
                  <c:v>54.529384</c:v>
                </c:pt>
                <c:pt idx="64">
                  <c:v>54.328389999999999</c:v>
                </c:pt>
                <c:pt idx="65">
                  <c:v>54.177309999999999</c:v>
                </c:pt>
                <c:pt idx="66">
                  <c:v>54.041784</c:v>
                </c:pt>
                <c:pt idx="67">
                  <c:v>53.902920000000002</c:v>
                </c:pt>
                <c:pt idx="68">
                  <c:v>53.776420999999999</c:v>
                </c:pt>
                <c:pt idx="69">
                  <c:v>53.653866000000001</c:v>
                </c:pt>
                <c:pt idx="70">
                  <c:v>53.562021999999999</c:v>
                </c:pt>
                <c:pt idx="71">
                  <c:v>53.492078999999997</c:v>
                </c:pt>
                <c:pt idx="72">
                  <c:v>53.405676999999997</c:v>
                </c:pt>
                <c:pt idx="73">
                  <c:v>53.354956000000001</c:v>
                </c:pt>
                <c:pt idx="74">
                  <c:v>53.290908999999999</c:v>
                </c:pt>
                <c:pt idx="75">
                  <c:v>53.258122</c:v>
                </c:pt>
                <c:pt idx="76">
                  <c:v>53.180785999999998</c:v>
                </c:pt>
                <c:pt idx="77">
                  <c:v>53.166018000000001</c:v>
                </c:pt>
                <c:pt idx="78">
                  <c:v>53.132165000000001</c:v>
                </c:pt>
                <c:pt idx="79">
                  <c:v>53.151331999999996</c:v>
                </c:pt>
                <c:pt idx="80">
                  <c:v>53.082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44C-4DEB-8A4F-6C211F9EEC3A}"/>
            </c:ext>
          </c:extLst>
        </c:ser>
        <c:ser>
          <c:idx val="2"/>
          <c:order val="2"/>
          <c:spPr>
            <a:ln w="28575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50"/>
              <c:layout>
                <c:manualLayout>
                  <c:x val="-2.7843317976391498E-2"/>
                  <c:y val="6.00114943275552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44C-4DEB-8A4F-6C211F9EEC3A}"/>
                </c:ext>
              </c:extLst>
            </c:dLbl>
            <c:dLbl>
              <c:idx val="8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44C-4DEB-8A4F-6C211F9EEC3A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4!$B$2:$CD$2</c:f>
              <c:numCache>
                <c:formatCode>General</c:formatCode>
                <c:ptCount val="8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  <c:pt idx="51">
                  <c:v>2051</c:v>
                </c:pt>
                <c:pt idx="52">
                  <c:v>2052</c:v>
                </c:pt>
                <c:pt idx="53">
                  <c:v>2053</c:v>
                </c:pt>
                <c:pt idx="54">
                  <c:v>2054</c:v>
                </c:pt>
                <c:pt idx="55">
                  <c:v>2055</c:v>
                </c:pt>
                <c:pt idx="56">
                  <c:v>2056</c:v>
                </c:pt>
                <c:pt idx="57">
                  <c:v>2057</c:v>
                </c:pt>
                <c:pt idx="58">
                  <c:v>2058</c:v>
                </c:pt>
                <c:pt idx="59">
                  <c:v>2059</c:v>
                </c:pt>
                <c:pt idx="60">
                  <c:v>2060</c:v>
                </c:pt>
                <c:pt idx="61">
                  <c:v>2061</c:v>
                </c:pt>
                <c:pt idx="62">
                  <c:v>2062</c:v>
                </c:pt>
                <c:pt idx="63">
                  <c:v>2063</c:v>
                </c:pt>
                <c:pt idx="64">
                  <c:v>2064</c:v>
                </c:pt>
                <c:pt idx="65">
                  <c:v>2065</c:v>
                </c:pt>
                <c:pt idx="66">
                  <c:v>2066</c:v>
                </c:pt>
                <c:pt idx="67">
                  <c:v>2067</c:v>
                </c:pt>
                <c:pt idx="68">
                  <c:v>2068</c:v>
                </c:pt>
                <c:pt idx="69">
                  <c:v>2069</c:v>
                </c:pt>
                <c:pt idx="70">
                  <c:v>2070</c:v>
                </c:pt>
                <c:pt idx="71">
                  <c:v>2071</c:v>
                </c:pt>
                <c:pt idx="72">
                  <c:v>2072</c:v>
                </c:pt>
                <c:pt idx="73">
                  <c:v>2073</c:v>
                </c:pt>
                <c:pt idx="74">
                  <c:v>2074</c:v>
                </c:pt>
                <c:pt idx="75">
                  <c:v>2075</c:v>
                </c:pt>
                <c:pt idx="76">
                  <c:v>2076</c:v>
                </c:pt>
                <c:pt idx="77">
                  <c:v>2077</c:v>
                </c:pt>
                <c:pt idx="78">
                  <c:v>2078</c:v>
                </c:pt>
                <c:pt idx="79">
                  <c:v>2079</c:v>
                </c:pt>
                <c:pt idx="80">
                  <c:v>2080</c:v>
                </c:pt>
              </c:numCache>
            </c:numRef>
          </c:cat>
          <c:val>
            <c:numRef>
              <c:f>Foglio4!$B$6:$CD$6</c:f>
              <c:numCache>
                <c:formatCode>General</c:formatCode>
                <c:ptCount val="81"/>
                <c:pt idx="0">
                  <c:v>56.942107999999998</c:v>
                </c:pt>
                <c:pt idx="1">
                  <c:v>56.974099500000001</c:v>
                </c:pt>
                <c:pt idx="2">
                  <c:v>57.059006500000002</c:v>
                </c:pt>
                <c:pt idx="3">
                  <c:v>57.313203000000001</c:v>
                </c:pt>
                <c:pt idx="4">
                  <c:v>57.685326500000002</c:v>
                </c:pt>
                <c:pt idx="5">
                  <c:v>57.969483500000003</c:v>
                </c:pt>
                <c:pt idx="6">
                  <c:v>58.143979000000002</c:v>
                </c:pt>
                <c:pt idx="7">
                  <c:v>58.438309500000003</c:v>
                </c:pt>
                <c:pt idx="8">
                  <c:v>58.826730499999996</c:v>
                </c:pt>
                <c:pt idx="9">
                  <c:v>59.095364500000002</c:v>
                </c:pt>
                <c:pt idx="10">
                  <c:v>59.277416500000001</c:v>
                </c:pt>
                <c:pt idx="11">
                  <c:v>59.379448500000002</c:v>
                </c:pt>
                <c:pt idx="12">
                  <c:v>59.539717000000003</c:v>
                </c:pt>
                <c:pt idx="13">
                  <c:v>60.233947499999999</c:v>
                </c:pt>
                <c:pt idx="14">
                  <c:v>60.789140000000003</c:v>
                </c:pt>
                <c:pt idx="15">
                  <c:v>60.295496999999997</c:v>
                </c:pt>
                <c:pt idx="16">
                  <c:v>60.163711999999997</c:v>
                </c:pt>
                <c:pt idx="17">
                  <c:v>60.066733999999997</c:v>
                </c:pt>
                <c:pt idx="18">
                  <c:v>60.066733999999997</c:v>
                </c:pt>
                <c:pt idx="19">
                  <c:v>59.816673000000002</c:v>
                </c:pt>
                <c:pt idx="20">
                  <c:v>59.641488000000003</c:v>
                </c:pt>
                <c:pt idx="21">
                  <c:v>59.236212999999999</c:v>
                </c:pt>
                <c:pt idx="22">
                  <c:v>59.030132999999999</c:v>
                </c:pt>
                <c:pt idx="23">
                  <c:v>58.997200999999997</c:v>
                </c:pt>
                <c:pt idx="24">
                  <c:v>58.971229999999998</c:v>
                </c:pt>
                <c:pt idx="25">
                  <c:v>58.923318999999999</c:v>
                </c:pt>
                <c:pt idx="26">
                  <c:v>58.845703</c:v>
                </c:pt>
                <c:pt idx="27">
                  <c:v>58.743338999999999</c:v>
                </c:pt>
                <c:pt idx="28">
                  <c:v>58.618817</c:v>
                </c:pt>
                <c:pt idx="29">
                  <c:v>58.47401</c:v>
                </c:pt>
                <c:pt idx="30">
                  <c:v>58.308529</c:v>
                </c:pt>
                <c:pt idx="31">
                  <c:v>58.129821</c:v>
                </c:pt>
                <c:pt idx="32">
                  <c:v>57.936743999999997</c:v>
                </c:pt>
                <c:pt idx="33">
                  <c:v>57.727406000000002</c:v>
                </c:pt>
                <c:pt idx="34">
                  <c:v>57.509425999999998</c:v>
                </c:pt>
                <c:pt idx="35">
                  <c:v>57.284621000000001</c:v>
                </c:pt>
                <c:pt idx="36">
                  <c:v>57.049374999999998</c:v>
                </c:pt>
                <c:pt idx="37">
                  <c:v>56.800989000000001</c:v>
                </c:pt>
                <c:pt idx="38">
                  <c:v>56.542853999999998</c:v>
                </c:pt>
                <c:pt idx="39">
                  <c:v>56.277304999999998</c:v>
                </c:pt>
                <c:pt idx="40">
                  <c:v>56.004930999999999</c:v>
                </c:pt>
                <c:pt idx="41">
                  <c:v>55.723247000000001</c:v>
                </c:pt>
                <c:pt idx="42">
                  <c:v>55.435786</c:v>
                </c:pt>
                <c:pt idx="43">
                  <c:v>55.129465000000003</c:v>
                </c:pt>
                <c:pt idx="44">
                  <c:v>54.817796999999999</c:v>
                </c:pt>
                <c:pt idx="45">
                  <c:v>54.493248999999999</c:v>
                </c:pt>
                <c:pt idx="46">
                  <c:v>54.150346999999996</c:v>
                </c:pt>
                <c:pt idx="47">
                  <c:v>53.798310999999998</c:v>
                </c:pt>
                <c:pt idx="48">
                  <c:v>53.446311999999999</c:v>
                </c:pt>
                <c:pt idx="49">
                  <c:v>53.062606000000002</c:v>
                </c:pt>
                <c:pt idx="50">
                  <c:v>52.673183000000002</c:v>
                </c:pt>
                <c:pt idx="51">
                  <c:v>52.255319999999998</c:v>
                </c:pt>
                <c:pt idx="52">
                  <c:v>51.829988999999998</c:v>
                </c:pt>
                <c:pt idx="53">
                  <c:v>51.394911999999998</c:v>
                </c:pt>
                <c:pt idx="54">
                  <c:v>50.954287999999998</c:v>
                </c:pt>
                <c:pt idx="55">
                  <c:v>50.487392</c:v>
                </c:pt>
                <c:pt idx="56">
                  <c:v>50.009034</c:v>
                </c:pt>
                <c:pt idx="57">
                  <c:v>49.518999999999998</c:v>
                </c:pt>
                <c:pt idx="58">
                  <c:v>49.053716000000001</c:v>
                </c:pt>
                <c:pt idx="59">
                  <c:v>48.583148000000001</c:v>
                </c:pt>
                <c:pt idx="60">
                  <c:v>48.098201000000003</c:v>
                </c:pt>
                <c:pt idx="61">
                  <c:v>47.585149000000001</c:v>
                </c:pt>
                <c:pt idx="62">
                  <c:v>47.084136999999998</c:v>
                </c:pt>
                <c:pt idx="63">
                  <c:v>46.603445000000001</c:v>
                </c:pt>
                <c:pt idx="64">
                  <c:v>46.105949000000003</c:v>
                </c:pt>
                <c:pt idx="65">
                  <c:v>45.632930999999999</c:v>
                </c:pt>
                <c:pt idx="66">
                  <c:v>45.147336000000003</c:v>
                </c:pt>
                <c:pt idx="67">
                  <c:v>44.686104</c:v>
                </c:pt>
                <c:pt idx="68">
                  <c:v>44.208657000000002</c:v>
                </c:pt>
                <c:pt idx="69">
                  <c:v>43.776713999999998</c:v>
                </c:pt>
                <c:pt idx="70">
                  <c:v>43.304177000000003</c:v>
                </c:pt>
                <c:pt idx="71">
                  <c:v>42.884404000000004</c:v>
                </c:pt>
                <c:pt idx="72">
                  <c:v>42.451999999999998</c:v>
                </c:pt>
                <c:pt idx="73">
                  <c:v>42.055236999999998</c:v>
                </c:pt>
                <c:pt idx="74">
                  <c:v>41.663721000000002</c:v>
                </c:pt>
                <c:pt idx="75">
                  <c:v>41.232325000000003</c:v>
                </c:pt>
                <c:pt idx="76">
                  <c:v>40.829116999999997</c:v>
                </c:pt>
                <c:pt idx="77">
                  <c:v>40.436190000000003</c:v>
                </c:pt>
                <c:pt idx="78">
                  <c:v>40.071210000000001</c:v>
                </c:pt>
                <c:pt idx="79">
                  <c:v>39.648012000000001</c:v>
                </c:pt>
                <c:pt idx="80">
                  <c:v>39.276885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044C-4DEB-8A4F-6C211F9EE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0346608"/>
        <c:axId val="523834176"/>
      </c:lineChart>
      <c:catAx>
        <c:axId val="4503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3834176"/>
        <c:crosses val="autoZero"/>
        <c:auto val="1"/>
        <c:lblAlgn val="ctr"/>
        <c:lblOffset val="100"/>
        <c:noMultiLvlLbl val="0"/>
      </c:catAx>
      <c:valAx>
        <c:axId val="523834176"/>
        <c:scaling>
          <c:orientation val="minMax"/>
          <c:max val="65"/>
          <c:min val="39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5034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[elaborazioni.xlsx]Foglio8!$B$5</c:f>
              <c:strCache>
                <c:ptCount val="1"/>
                <c:pt idx="0">
                  <c:v>Scenario pessimista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[elaborazioni.xlsx]Foglio8!$A$6:$A$63</c:f>
              <c:numCache>
                <c:formatCode>General</c:formatCode>
                <c:ptCount val="5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  <c:pt idx="18">
                  <c:v>2041</c:v>
                </c:pt>
                <c:pt idx="19">
                  <c:v>2042</c:v>
                </c:pt>
                <c:pt idx="20">
                  <c:v>2043</c:v>
                </c:pt>
                <c:pt idx="21">
                  <c:v>2044</c:v>
                </c:pt>
                <c:pt idx="22">
                  <c:v>2045</c:v>
                </c:pt>
                <c:pt idx="23">
                  <c:v>2046</c:v>
                </c:pt>
                <c:pt idx="24">
                  <c:v>2047</c:v>
                </c:pt>
                <c:pt idx="25">
                  <c:v>2048</c:v>
                </c:pt>
                <c:pt idx="26">
                  <c:v>2049</c:v>
                </c:pt>
                <c:pt idx="27">
                  <c:v>2050</c:v>
                </c:pt>
                <c:pt idx="28">
                  <c:v>2051</c:v>
                </c:pt>
                <c:pt idx="29">
                  <c:v>2052</c:v>
                </c:pt>
                <c:pt idx="30">
                  <c:v>2053</c:v>
                </c:pt>
                <c:pt idx="31">
                  <c:v>2054</c:v>
                </c:pt>
                <c:pt idx="32">
                  <c:v>2055</c:v>
                </c:pt>
                <c:pt idx="33">
                  <c:v>2056</c:v>
                </c:pt>
                <c:pt idx="34">
                  <c:v>2057</c:v>
                </c:pt>
                <c:pt idx="35">
                  <c:v>2058</c:v>
                </c:pt>
                <c:pt idx="36">
                  <c:v>2059</c:v>
                </c:pt>
                <c:pt idx="37">
                  <c:v>2060</c:v>
                </c:pt>
                <c:pt idx="38">
                  <c:v>2061</c:v>
                </c:pt>
                <c:pt idx="39">
                  <c:v>2062</c:v>
                </c:pt>
                <c:pt idx="40">
                  <c:v>2063</c:v>
                </c:pt>
                <c:pt idx="41">
                  <c:v>2064</c:v>
                </c:pt>
                <c:pt idx="42">
                  <c:v>2065</c:v>
                </c:pt>
                <c:pt idx="43">
                  <c:v>2066</c:v>
                </c:pt>
                <c:pt idx="44">
                  <c:v>2067</c:v>
                </c:pt>
                <c:pt idx="45">
                  <c:v>2068</c:v>
                </c:pt>
                <c:pt idx="46">
                  <c:v>2069</c:v>
                </c:pt>
                <c:pt idx="47">
                  <c:v>2070</c:v>
                </c:pt>
                <c:pt idx="48">
                  <c:v>2071</c:v>
                </c:pt>
                <c:pt idx="49">
                  <c:v>2072</c:v>
                </c:pt>
                <c:pt idx="50">
                  <c:v>2073</c:v>
                </c:pt>
                <c:pt idx="51">
                  <c:v>2074</c:v>
                </c:pt>
                <c:pt idx="52">
                  <c:v>2075</c:v>
                </c:pt>
                <c:pt idx="53">
                  <c:v>2076</c:v>
                </c:pt>
                <c:pt idx="54">
                  <c:v>2077</c:v>
                </c:pt>
                <c:pt idx="55">
                  <c:v>2078</c:v>
                </c:pt>
                <c:pt idx="56">
                  <c:v>2079</c:v>
                </c:pt>
                <c:pt idx="57">
                  <c:v>2080</c:v>
                </c:pt>
              </c:numCache>
            </c:numRef>
          </c:cat>
          <c:val>
            <c:numRef>
              <c:f>[elaborazioni.xlsx]Foglio8!$B$6:$B$63</c:f>
              <c:numCache>
                <c:formatCode>_-* #,##0_-;\-* #,##0_-;_-* "-"??_-;_-@_-</c:formatCode>
                <c:ptCount val="58"/>
                <c:pt idx="0">
                  <c:v>3661981</c:v>
                </c:pt>
                <c:pt idx="1">
                  <c:v>3663464</c:v>
                </c:pt>
                <c:pt idx="2">
                  <c:v>3663005</c:v>
                </c:pt>
                <c:pt idx="3">
                  <c:v>3660788</c:v>
                </c:pt>
                <c:pt idx="4">
                  <c:v>3656936</c:v>
                </c:pt>
                <c:pt idx="5">
                  <c:v>3651459</c:v>
                </c:pt>
                <c:pt idx="6">
                  <c:v>3644522</c:v>
                </c:pt>
                <c:pt idx="7">
                  <c:v>3636201</c:v>
                </c:pt>
                <c:pt idx="8">
                  <c:v>3626843</c:v>
                </c:pt>
                <c:pt idx="9">
                  <c:v>3616730</c:v>
                </c:pt>
                <c:pt idx="10">
                  <c:v>3605967</c:v>
                </c:pt>
                <c:pt idx="11">
                  <c:v>3594740</c:v>
                </c:pt>
                <c:pt idx="12">
                  <c:v>3583279</c:v>
                </c:pt>
                <c:pt idx="13">
                  <c:v>3571676</c:v>
                </c:pt>
                <c:pt idx="14">
                  <c:v>3559642</c:v>
                </c:pt>
                <c:pt idx="15">
                  <c:v>3547144</c:v>
                </c:pt>
                <c:pt idx="16">
                  <c:v>3534070</c:v>
                </c:pt>
                <c:pt idx="17">
                  <c:v>3520397</c:v>
                </c:pt>
                <c:pt idx="18">
                  <c:v>3506308</c:v>
                </c:pt>
                <c:pt idx="19">
                  <c:v>3491694</c:v>
                </c:pt>
                <c:pt idx="20">
                  <c:v>3476548</c:v>
                </c:pt>
                <c:pt idx="21">
                  <c:v>3460423</c:v>
                </c:pt>
                <c:pt idx="22">
                  <c:v>3444097</c:v>
                </c:pt>
                <c:pt idx="23">
                  <c:v>3426780</c:v>
                </c:pt>
                <c:pt idx="24">
                  <c:v>3408999</c:v>
                </c:pt>
                <c:pt idx="25">
                  <c:v>3389723</c:v>
                </c:pt>
                <c:pt idx="26">
                  <c:v>3368975</c:v>
                </c:pt>
                <c:pt idx="27">
                  <c:v>3348664</c:v>
                </c:pt>
                <c:pt idx="28">
                  <c:v>3326556</c:v>
                </c:pt>
                <c:pt idx="29">
                  <c:v>3301728</c:v>
                </c:pt>
                <c:pt idx="30">
                  <c:v>3277872</c:v>
                </c:pt>
                <c:pt idx="31">
                  <c:v>3252065</c:v>
                </c:pt>
                <c:pt idx="32">
                  <c:v>3227027</c:v>
                </c:pt>
                <c:pt idx="33">
                  <c:v>3200933</c:v>
                </c:pt>
                <c:pt idx="34">
                  <c:v>3172550</c:v>
                </c:pt>
                <c:pt idx="35">
                  <c:v>3145461</c:v>
                </c:pt>
                <c:pt idx="36">
                  <c:v>3116222</c:v>
                </c:pt>
                <c:pt idx="37">
                  <c:v>3087565</c:v>
                </c:pt>
                <c:pt idx="38">
                  <c:v>3058998</c:v>
                </c:pt>
                <c:pt idx="39">
                  <c:v>3029740</c:v>
                </c:pt>
                <c:pt idx="40">
                  <c:v>3001553</c:v>
                </c:pt>
                <c:pt idx="41">
                  <c:v>2974393</c:v>
                </c:pt>
                <c:pt idx="42">
                  <c:v>2946819</c:v>
                </c:pt>
                <c:pt idx="43">
                  <c:v>2919862</c:v>
                </c:pt>
                <c:pt idx="44">
                  <c:v>2893148</c:v>
                </c:pt>
                <c:pt idx="45">
                  <c:v>2866223</c:v>
                </c:pt>
                <c:pt idx="46">
                  <c:v>2840686</c:v>
                </c:pt>
                <c:pt idx="47">
                  <c:v>2814870</c:v>
                </c:pt>
                <c:pt idx="48">
                  <c:v>2789003</c:v>
                </c:pt>
                <c:pt idx="49">
                  <c:v>2762724</c:v>
                </c:pt>
                <c:pt idx="50">
                  <c:v>2737792</c:v>
                </c:pt>
                <c:pt idx="51">
                  <c:v>2715446</c:v>
                </c:pt>
                <c:pt idx="52">
                  <c:v>2690524</c:v>
                </c:pt>
                <c:pt idx="53">
                  <c:v>2665932</c:v>
                </c:pt>
                <c:pt idx="54">
                  <c:v>2643798</c:v>
                </c:pt>
                <c:pt idx="55">
                  <c:v>2622743</c:v>
                </c:pt>
                <c:pt idx="56">
                  <c:v>2600021</c:v>
                </c:pt>
                <c:pt idx="57">
                  <c:v>2578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AD7-4F88-BDDC-3FFB9DAA14CA}"/>
            </c:ext>
          </c:extLst>
        </c:ser>
        <c:ser>
          <c:idx val="1"/>
          <c:order val="1"/>
          <c:tx>
            <c:strRef>
              <c:f>[elaborazioni.xlsx]Foglio8!$C$5</c:f>
              <c:strCache>
                <c:ptCount val="1"/>
                <c:pt idx="0">
                  <c:v>Scenario mediano 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[elaborazioni.xlsx]Foglio8!$A$6:$A$63</c:f>
              <c:numCache>
                <c:formatCode>General</c:formatCode>
                <c:ptCount val="5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  <c:pt idx="18">
                  <c:v>2041</c:v>
                </c:pt>
                <c:pt idx="19">
                  <c:v>2042</c:v>
                </c:pt>
                <c:pt idx="20">
                  <c:v>2043</c:v>
                </c:pt>
                <c:pt idx="21">
                  <c:v>2044</c:v>
                </c:pt>
                <c:pt idx="22">
                  <c:v>2045</c:v>
                </c:pt>
                <c:pt idx="23">
                  <c:v>2046</c:v>
                </c:pt>
                <c:pt idx="24">
                  <c:v>2047</c:v>
                </c:pt>
                <c:pt idx="25">
                  <c:v>2048</c:v>
                </c:pt>
                <c:pt idx="26">
                  <c:v>2049</c:v>
                </c:pt>
                <c:pt idx="27">
                  <c:v>2050</c:v>
                </c:pt>
                <c:pt idx="28">
                  <c:v>2051</c:v>
                </c:pt>
                <c:pt idx="29">
                  <c:v>2052</c:v>
                </c:pt>
                <c:pt idx="30">
                  <c:v>2053</c:v>
                </c:pt>
                <c:pt idx="31">
                  <c:v>2054</c:v>
                </c:pt>
                <c:pt idx="32">
                  <c:v>2055</c:v>
                </c:pt>
                <c:pt idx="33">
                  <c:v>2056</c:v>
                </c:pt>
                <c:pt idx="34">
                  <c:v>2057</c:v>
                </c:pt>
                <c:pt idx="35">
                  <c:v>2058</c:v>
                </c:pt>
                <c:pt idx="36">
                  <c:v>2059</c:v>
                </c:pt>
                <c:pt idx="37">
                  <c:v>2060</c:v>
                </c:pt>
                <c:pt idx="38">
                  <c:v>2061</c:v>
                </c:pt>
                <c:pt idx="39">
                  <c:v>2062</c:v>
                </c:pt>
                <c:pt idx="40">
                  <c:v>2063</c:v>
                </c:pt>
                <c:pt idx="41">
                  <c:v>2064</c:v>
                </c:pt>
                <c:pt idx="42">
                  <c:v>2065</c:v>
                </c:pt>
                <c:pt idx="43">
                  <c:v>2066</c:v>
                </c:pt>
                <c:pt idx="44">
                  <c:v>2067</c:v>
                </c:pt>
                <c:pt idx="45">
                  <c:v>2068</c:v>
                </c:pt>
                <c:pt idx="46">
                  <c:v>2069</c:v>
                </c:pt>
                <c:pt idx="47">
                  <c:v>2070</c:v>
                </c:pt>
                <c:pt idx="48">
                  <c:v>2071</c:v>
                </c:pt>
                <c:pt idx="49">
                  <c:v>2072</c:v>
                </c:pt>
                <c:pt idx="50">
                  <c:v>2073</c:v>
                </c:pt>
                <c:pt idx="51">
                  <c:v>2074</c:v>
                </c:pt>
                <c:pt idx="52">
                  <c:v>2075</c:v>
                </c:pt>
                <c:pt idx="53">
                  <c:v>2076</c:v>
                </c:pt>
                <c:pt idx="54">
                  <c:v>2077</c:v>
                </c:pt>
                <c:pt idx="55">
                  <c:v>2078</c:v>
                </c:pt>
                <c:pt idx="56">
                  <c:v>2079</c:v>
                </c:pt>
                <c:pt idx="57">
                  <c:v>2080</c:v>
                </c:pt>
              </c:numCache>
            </c:numRef>
          </c:cat>
          <c:val>
            <c:numRef>
              <c:f>[elaborazioni.xlsx]Foglio8!$C$6:$C$63</c:f>
              <c:numCache>
                <c:formatCode>_-* #,##0_-;\-* #,##0_-;_-* "-"??_-;_-@_-</c:formatCode>
                <c:ptCount val="58"/>
                <c:pt idx="0">
                  <c:v>3661981</c:v>
                </c:pt>
                <c:pt idx="1">
                  <c:v>3664612</c:v>
                </c:pt>
                <c:pt idx="2">
                  <c:v>3665793</c:v>
                </c:pt>
                <c:pt idx="3">
                  <c:v>3665665</c:v>
                </c:pt>
                <c:pt idx="4">
                  <c:v>3664310</c:v>
                </c:pt>
                <c:pt idx="5">
                  <c:v>3661760</c:v>
                </c:pt>
                <c:pt idx="6">
                  <c:v>3658077</c:v>
                </c:pt>
                <c:pt idx="7">
                  <c:v>3653344</c:v>
                </c:pt>
                <c:pt idx="8">
                  <c:v>3648003</c:v>
                </c:pt>
                <c:pt idx="9">
                  <c:v>3642132</c:v>
                </c:pt>
                <c:pt idx="10">
                  <c:v>3635890</c:v>
                </c:pt>
                <c:pt idx="11">
                  <c:v>3629322</c:v>
                </c:pt>
                <c:pt idx="12">
                  <c:v>3622851</c:v>
                </c:pt>
                <c:pt idx="13">
                  <c:v>3616415</c:v>
                </c:pt>
                <c:pt idx="14">
                  <c:v>3609881</c:v>
                </c:pt>
                <c:pt idx="15">
                  <c:v>3603233</c:v>
                </c:pt>
                <c:pt idx="16">
                  <c:v>3596401</c:v>
                </c:pt>
                <c:pt idx="17">
                  <c:v>3589457</c:v>
                </c:pt>
                <c:pt idx="18">
                  <c:v>3582327</c:v>
                </c:pt>
                <c:pt idx="19">
                  <c:v>3574946</c:v>
                </c:pt>
                <c:pt idx="20">
                  <c:v>3567239</c:v>
                </c:pt>
                <c:pt idx="21">
                  <c:v>3559129</c:v>
                </c:pt>
                <c:pt idx="22">
                  <c:v>3550545</c:v>
                </c:pt>
                <c:pt idx="23">
                  <c:v>3541359</c:v>
                </c:pt>
                <c:pt idx="24">
                  <c:v>3531469</c:v>
                </c:pt>
                <c:pt idx="25">
                  <c:v>3520803</c:v>
                </c:pt>
                <c:pt idx="26">
                  <c:v>3509311</c:v>
                </c:pt>
                <c:pt idx="27">
                  <c:v>3496922</c:v>
                </c:pt>
                <c:pt idx="28">
                  <c:v>3483646</c:v>
                </c:pt>
                <c:pt idx="29">
                  <c:v>3469394</c:v>
                </c:pt>
                <c:pt idx="30">
                  <c:v>3454260</c:v>
                </c:pt>
                <c:pt idx="31">
                  <c:v>3438302</c:v>
                </c:pt>
                <c:pt idx="32">
                  <c:v>3421532</c:v>
                </c:pt>
                <c:pt idx="33">
                  <c:v>3404110</c:v>
                </c:pt>
                <c:pt idx="34">
                  <c:v>3386072</c:v>
                </c:pt>
                <c:pt idx="35">
                  <c:v>3367632</c:v>
                </c:pt>
                <c:pt idx="36">
                  <c:v>3348893</c:v>
                </c:pt>
                <c:pt idx="37">
                  <c:v>3329998</c:v>
                </c:pt>
                <c:pt idx="38">
                  <c:v>3311080</c:v>
                </c:pt>
                <c:pt idx="39">
                  <c:v>3292276</c:v>
                </c:pt>
                <c:pt idx="40">
                  <c:v>3273743</c:v>
                </c:pt>
                <c:pt idx="41">
                  <c:v>3255630</c:v>
                </c:pt>
                <c:pt idx="42">
                  <c:v>3238063</c:v>
                </c:pt>
                <c:pt idx="43">
                  <c:v>3221127</c:v>
                </c:pt>
                <c:pt idx="44">
                  <c:v>3204866</c:v>
                </c:pt>
                <c:pt idx="45">
                  <c:v>3189318</c:v>
                </c:pt>
                <c:pt idx="46">
                  <c:v>3174510</c:v>
                </c:pt>
                <c:pt idx="47">
                  <c:v>3160525</c:v>
                </c:pt>
                <c:pt idx="48">
                  <c:v>3147359</c:v>
                </c:pt>
                <c:pt idx="49">
                  <c:v>3134841</c:v>
                </c:pt>
                <c:pt idx="50">
                  <c:v>3123083</c:v>
                </c:pt>
                <c:pt idx="51">
                  <c:v>3111967</c:v>
                </c:pt>
                <c:pt idx="52">
                  <c:v>3101364</c:v>
                </c:pt>
                <c:pt idx="53">
                  <c:v>3091234</c:v>
                </c:pt>
                <c:pt idx="54">
                  <c:v>3081435</c:v>
                </c:pt>
                <c:pt idx="55">
                  <c:v>3071807</c:v>
                </c:pt>
                <c:pt idx="56">
                  <c:v>3062413</c:v>
                </c:pt>
                <c:pt idx="57">
                  <c:v>3052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D7-4F88-BDDC-3FFB9DAA14CA}"/>
            </c:ext>
          </c:extLst>
        </c:ser>
        <c:ser>
          <c:idx val="2"/>
          <c:order val="2"/>
          <c:tx>
            <c:strRef>
              <c:f>[elaborazioni.xlsx]Foglio8!$D$5</c:f>
              <c:strCache>
                <c:ptCount val="1"/>
                <c:pt idx="0">
                  <c:v>Scenario favorevole </c:v>
                </c:pt>
              </c:strCache>
            </c:strRef>
          </c:tx>
          <c:spPr>
            <a:ln w="28575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[elaborazioni.xlsx]Foglio8!$A$6:$A$63</c:f>
              <c:numCache>
                <c:formatCode>General</c:formatCode>
                <c:ptCount val="5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  <c:pt idx="18">
                  <c:v>2041</c:v>
                </c:pt>
                <c:pt idx="19">
                  <c:v>2042</c:v>
                </c:pt>
                <c:pt idx="20">
                  <c:v>2043</c:v>
                </c:pt>
                <c:pt idx="21">
                  <c:v>2044</c:v>
                </c:pt>
                <c:pt idx="22">
                  <c:v>2045</c:v>
                </c:pt>
                <c:pt idx="23">
                  <c:v>2046</c:v>
                </c:pt>
                <c:pt idx="24">
                  <c:v>2047</c:v>
                </c:pt>
                <c:pt idx="25">
                  <c:v>2048</c:v>
                </c:pt>
                <c:pt idx="26">
                  <c:v>2049</c:v>
                </c:pt>
                <c:pt idx="27">
                  <c:v>2050</c:v>
                </c:pt>
                <c:pt idx="28">
                  <c:v>2051</c:v>
                </c:pt>
                <c:pt idx="29">
                  <c:v>2052</c:v>
                </c:pt>
                <c:pt idx="30">
                  <c:v>2053</c:v>
                </c:pt>
                <c:pt idx="31">
                  <c:v>2054</c:v>
                </c:pt>
                <c:pt idx="32">
                  <c:v>2055</c:v>
                </c:pt>
                <c:pt idx="33">
                  <c:v>2056</c:v>
                </c:pt>
                <c:pt idx="34">
                  <c:v>2057</c:v>
                </c:pt>
                <c:pt idx="35">
                  <c:v>2058</c:v>
                </c:pt>
                <c:pt idx="36">
                  <c:v>2059</c:v>
                </c:pt>
                <c:pt idx="37">
                  <c:v>2060</c:v>
                </c:pt>
                <c:pt idx="38">
                  <c:v>2061</c:v>
                </c:pt>
                <c:pt idx="39">
                  <c:v>2062</c:v>
                </c:pt>
                <c:pt idx="40">
                  <c:v>2063</c:v>
                </c:pt>
                <c:pt idx="41">
                  <c:v>2064</c:v>
                </c:pt>
                <c:pt idx="42">
                  <c:v>2065</c:v>
                </c:pt>
                <c:pt idx="43">
                  <c:v>2066</c:v>
                </c:pt>
                <c:pt idx="44">
                  <c:v>2067</c:v>
                </c:pt>
                <c:pt idx="45">
                  <c:v>2068</c:v>
                </c:pt>
                <c:pt idx="46">
                  <c:v>2069</c:v>
                </c:pt>
                <c:pt idx="47">
                  <c:v>2070</c:v>
                </c:pt>
                <c:pt idx="48">
                  <c:v>2071</c:v>
                </c:pt>
                <c:pt idx="49">
                  <c:v>2072</c:v>
                </c:pt>
                <c:pt idx="50">
                  <c:v>2073</c:v>
                </c:pt>
                <c:pt idx="51">
                  <c:v>2074</c:v>
                </c:pt>
                <c:pt idx="52">
                  <c:v>2075</c:v>
                </c:pt>
                <c:pt idx="53">
                  <c:v>2076</c:v>
                </c:pt>
                <c:pt idx="54">
                  <c:v>2077</c:v>
                </c:pt>
                <c:pt idx="55">
                  <c:v>2078</c:v>
                </c:pt>
                <c:pt idx="56">
                  <c:v>2079</c:v>
                </c:pt>
                <c:pt idx="57">
                  <c:v>2080</c:v>
                </c:pt>
              </c:numCache>
            </c:numRef>
          </c:cat>
          <c:val>
            <c:numRef>
              <c:f>[elaborazioni.xlsx]Foglio8!$D$6:$D$63</c:f>
              <c:numCache>
                <c:formatCode>_-* #,##0_-;\-* #,##0_-;_-* "-"??_-;_-@_-</c:formatCode>
                <c:ptCount val="58"/>
                <c:pt idx="0">
                  <c:v>3661981</c:v>
                </c:pt>
                <c:pt idx="1">
                  <c:v>3665815</c:v>
                </c:pt>
                <c:pt idx="2">
                  <c:v>3668678</c:v>
                </c:pt>
                <c:pt idx="3">
                  <c:v>3670710</c:v>
                </c:pt>
                <c:pt idx="4">
                  <c:v>3672013</c:v>
                </c:pt>
                <c:pt idx="5">
                  <c:v>3672490</c:v>
                </c:pt>
                <c:pt idx="6">
                  <c:v>3672232</c:v>
                </c:pt>
                <c:pt idx="7">
                  <c:v>3671228</c:v>
                </c:pt>
                <c:pt idx="8">
                  <c:v>3669929</c:v>
                </c:pt>
                <c:pt idx="9">
                  <c:v>3668544</c:v>
                </c:pt>
                <c:pt idx="10">
                  <c:v>3666881</c:v>
                </c:pt>
                <c:pt idx="11">
                  <c:v>3665248</c:v>
                </c:pt>
                <c:pt idx="12">
                  <c:v>3663821</c:v>
                </c:pt>
                <c:pt idx="13">
                  <c:v>3662677</c:v>
                </c:pt>
                <c:pt idx="14">
                  <c:v>3661674</c:v>
                </c:pt>
                <c:pt idx="15">
                  <c:v>3661595</c:v>
                </c:pt>
                <c:pt idx="16">
                  <c:v>3661126</c:v>
                </c:pt>
                <c:pt idx="17">
                  <c:v>3660385</c:v>
                </c:pt>
                <c:pt idx="18">
                  <c:v>3659780</c:v>
                </c:pt>
                <c:pt idx="19">
                  <c:v>3660059</c:v>
                </c:pt>
                <c:pt idx="20">
                  <c:v>3659871</c:v>
                </c:pt>
                <c:pt idx="21">
                  <c:v>3660284</c:v>
                </c:pt>
                <c:pt idx="22">
                  <c:v>3659022</c:v>
                </c:pt>
                <c:pt idx="23">
                  <c:v>3658012</c:v>
                </c:pt>
                <c:pt idx="24">
                  <c:v>3656488</c:v>
                </c:pt>
                <c:pt idx="25">
                  <c:v>3653994</c:v>
                </c:pt>
                <c:pt idx="26">
                  <c:v>3651495</c:v>
                </c:pt>
                <c:pt idx="27">
                  <c:v>3647172</c:v>
                </c:pt>
                <c:pt idx="28">
                  <c:v>3642144</c:v>
                </c:pt>
                <c:pt idx="29">
                  <c:v>3636661</c:v>
                </c:pt>
                <c:pt idx="30">
                  <c:v>3632169</c:v>
                </c:pt>
                <c:pt idx="31">
                  <c:v>3625578</c:v>
                </c:pt>
                <c:pt idx="32">
                  <c:v>3617950</c:v>
                </c:pt>
                <c:pt idx="33">
                  <c:v>3609251</c:v>
                </c:pt>
                <c:pt idx="34">
                  <c:v>3601715</c:v>
                </c:pt>
                <c:pt idx="35">
                  <c:v>3593154</c:v>
                </c:pt>
                <c:pt idx="36">
                  <c:v>3586744</c:v>
                </c:pt>
                <c:pt idx="37">
                  <c:v>3577590</c:v>
                </c:pt>
                <c:pt idx="38">
                  <c:v>3568805</c:v>
                </c:pt>
                <c:pt idx="39">
                  <c:v>3560863</c:v>
                </c:pt>
                <c:pt idx="40">
                  <c:v>3554269</c:v>
                </c:pt>
                <c:pt idx="41">
                  <c:v>3548492</c:v>
                </c:pt>
                <c:pt idx="42">
                  <c:v>3543743</c:v>
                </c:pt>
                <c:pt idx="43">
                  <c:v>3538973</c:v>
                </c:pt>
                <c:pt idx="44">
                  <c:v>3533706</c:v>
                </c:pt>
                <c:pt idx="45">
                  <c:v>3530552</c:v>
                </c:pt>
                <c:pt idx="46">
                  <c:v>3528760</c:v>
                </c:pt>
                <c:pt idx="47">
                  <c:v>3529730</c:v>
                </c:pt>
                <c:pt idx="48">
                  <c:v>3528929</c:v>
                </c:pt>
                <c:pt idx="49">
                  <c:v>3529841</c:v>
                </c:pt>
                <c:pt idx="50">
                  <c:v>3532255</c:v>
                </c:pt>
                <c:pt idx="51">
                  <c:v>3533480</c:v>
                </c:pt>
                <c:pt idx="52">
                  <c:v>3535422</c:v>
                </c:pt>
                <c:pt idx="53">
                  <c:v>3537462</c:v>
                </c:pt>
                <c:pt idx="54">
                  <c:v>3537762</c:v>
                </c:pt>
                <c:pt idx="55">
                  <c:v>3542725</c:v>
                </c:pt>
                <c:pt idx="56">
                  <c:v>3547246</c:v>
                </c:pt>
                <c:pt idx="57">
                  <c:v>3550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D7-4F88-BDDC-3FFB9DAA14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47314847"/>
        <c:axId val="1847316287"/>
      </c:lineChart>
      <c:catAx>
        <c:axId val="1847314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47316287"/>
        <c:crosses val="autoZero"/>
        <c:auto val="1"/>
        <c:lblAlgn val="ctr"/>
        <c:lblOffset val="100"/>
        <c:tickLblSkip val="3"/>
        <c:noMultiLvlLbl val="0"/>
      </c:catAx>
      <c:valAx>
        <c:axId val="1847316287"/>
        <c:scaling>
          <c:orientation val="minMax"/>
          <c:min val="240005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8473148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previsioni demografiche.xls]Foglio2'!$B$323</c:f>
              <c:strCache>
                <c:ptCount val="1"/>
                <c:pt idx="0">
                  <c:v>Toscana</c:v>
                </c:pt>
              </c:strCache>
            </c:strRef>
          </c:tx>
          <c:spPr>
            <a:ln w="28575" cap="rnd">
              <a:solidFill>
                <a:srgbClr val="001E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4093701141627854E-2"/>
                  <c:y val="-6.66620078251947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8F-422B-9758-1B6687D57E0D}"/>
                </c:ext>
              </c:extLst>
            </c:dLbl>
            <c:dLbl>
              <c:idx val="2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47B2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8F-422B-9758-1B6687D57E0D}"/>
                </c:ext>
              </c:extLst>
            </c:dLbl>
            <c:dLbl>
              <c:idx val="5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98F-422B-9758-1B6687D57E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previsioni demografiche.xls]Foglio2'!$A$324:$A$381</c:f>
              <c:strCache>
                <c:ptCount val="5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  <c:pt idx="18">
                  <c:v>2041</c:v>
                </c:pt>
                <c:pt idx="19">
                  <c:v>2042</c:v>
                </c:pt>
                <c:pt idx="20">
                  <c:v>2043</c:v>
                </c:pt>
                <c:pt idx="21">
                  <c:v>2044</c:v>
                </c:pt>
                <c:pt idx="22">
                  <c:v>2045</c:v>
                </c:pt>
                <c:pt idx="23">
                  <c:v>2046</c:v>
                </c:pt>
                <c:pt idx="24">
                  <c:v>2047</c:v>
                </c:pt>
                <c:pt idx="25">
                  <c:v>2048</c:v>
                </c:pt>
                <c:pt idx="26">
                  <c:v>2049</c:v>
                </c:pt>
                <c:pt idx="27">
                  <c:v>2050</c:v>
                </c:pt>
                <c:pt idx="28">
                  <c:v>2051</c:v>
                </c:pt>
                <c:pt idx="29">
                  <c:v>2052</c:v>
                </c:pt>
                <c:pt idx="30">
                  <c:v>2053</c:v>
                </c:pt>
                <c:pt idx="31">
                  <c:v>2054</c:v>
                </c:pt>
                <c:pt idx="32">
                  <c:v>2055</c:v>
                </c:pt>
                <c:pt idx="33">
                  <c:v>2056</c:v>
                </c:pt>
                <c:pt idx="34">
                  <c:v>2057</c:v>
                </c:pt>
                <c:pt idx="35">
                  <c:v>2058</c:v>
                </c:pt>
                <c:pt idx="36">
                  <c:v>2059</c:v>
                </c:pt>
                <c:pt idx="37">
                  <c:v>2060</c:v>
                </c:pt>
                <c:pt idx="38">
                  <c:v>2061</c:v>
                </c:pt>
                <c:pt idx="39">
                  <c:v>2062</c:v>
                </c:pt>
                <c:pt idx="40">
                  <c:v>2063</c:v>
                </c:pt>
                <c:pt idx="41">
                  <c:v>2064</c:v>
                </c:pt>
                <c:pt idx="42">
                  <c:v>2065</c:v>
                </c:pt>
                <c:pt idx="43">
                  <c:v>2066</c:v>
                </c:pt>
                <c:pt idx="44">
                  <c:v>2067</c:v>
                </c:pt>
                <c:pt idx="45">
                  <c:v>2068</c:v>
                </c:pt>
                <c:pt idx="46">
                  <c:v>2069</c:v>
                </c:pt>
                <c:pt idx="47">
                  <c:v>2070</c:v>
                </c:pt>
                <c:pt idx="48">
                  <c:v>2071</c:v>
                </c:pt>
                <c:pt idx="49">
                  <c:v>2072</c:v>
                </c:pt>
                <c:pt idx="50">
                  <c:v>2073</c:v>
                </c:pt>
                <c:pt idx="51">
                  <c:v>2074</c:v>
                </c:pt>
                <c:pt idx="52">
                  <c:v>2075</c:v>
                </c:pt>
                <c:pt idx="53">
                  <c:v>2076</c:v>
                </c:pt>
                <c:pt idx="54">
                  <c:v>2077</c:v>
                </c:pt>
                <c:pt idx="55">
                  <c:v>2078</c:v>
                </c:pt>
                <c:pt idx="56">
                  <c:v>2079</c:v>
                </c:pt>
                <c:pt idx="57">
                  <c:v>2080</c:v>
                </c:pt>
              </c:strCache>
            </c:strRef>
          </c:cat>
          <c:val>
            <c:numRef>
              <c:f>'[previsioni demografiche.xls]Foglio2'!$B$324:$B$381</c:f>
              <c:numCache>
                <c:formatCode>0.0%</c:formatCode>
                <c:ptCount val="58"/>
                <c:pt idx="0">
                  <c:v>0.2619784209694152</c:v>
                </c:pt>
                <c:pt idx="1">
                  <c:v>0.26436495869139759</c:v>
                </c:pt>
                <c:pt idx="2">
                  <c:v>0.26715556497598203</c:v>
                </c:pt>
                <c:pt idx="3">
                  <c:v>0.2702167273878</c:v>
                </c:pt>
                <c:pt idx="4">
                  <c:v>0.27362832293119305</c:v>
                </c:pt>
                <c:pt idx="5">
                  <c:v>0.27731336843485099</c:v>
                </c:pt>
                <c:pt idx="6">
                  <c:v>0.28152496516612419</c:v>
                </c:pt>
                <c:pt idx="7">
                  <c:v>0.28675947296504245</c:v>
                </c:pt>
                <c:pt idx="8">
                  <c:v>0.29179060433886705</c:v>
                </c:pt>
                <c:pt idx="9">
                  <c:v>0.29679292238721716</c:v>
                </c:pt>
                <c:pt idx="10">
                  <c:v>0.30157540519652687</c:v>
                </c:pt>
                <c:pt idx="11">
                  <c:v>0.30627290717109146</c:v>
                </c:pt>
                <c:pt idx="12">
                  <c:v>0.31120131631138021</c:v>
                </c:pt>
                <c:pt idx="13">
                  <c:v>0.31564767870944016</c:v>
                </c:pt>
                <c:pt idx="14">
                  <c:v>0.32035903676603189</c:v>
                </c:pt>
                <c:pt idx="15">
                  <c:v>0.3249745436945099</c:v>
                </c:pt>
                <c:pt idx="16">
                  <c:v>0.32940347864434472</c:v>
                </c:pt>
                <c:pt idx="17">
                  <c:v>0.33375633138939959</c:v>
                </c:pt>
                <c:pt idx="18">
                  <c:v>0.33742313306406702</c:v>
                </c:pt>
                <c:pt idx="19">
                  <c:v>0.34036793842480417</c:v>
                </c:pt>
                <c:pt idx="20">
                  <c:v>0.34269584964730426</c:v>
                </c:pt>
                <c:pt idx="21">
                  <c:v>0.3445410379899127</c:v>
                </c:pt>
                <c:pt idx="22">
                  <c:v>0.34563707825136702</c:v>
                </c:pt>
                <c:pt idx="23">
                  <c:v>0.34623854853461622</c:v>
                </c:pt>
                <c:pt idx="24">
                  <c:v>0.34651160749251941</c:v>
                </c:pt>
                <c:pt idx="25">
                  <c:v>0.34668824129041015</c:v>
                </c:pt>
                <c:pt idx="26">
                  <c:v>0.34652215206916687</c:v>
                </c:pt>
                <c:pt idx="27">
                  <c:v>0.34610065652021976</c:v>
                </c:pt>
                <c:pt idx="28">
                  <c:v>0.34553510890601397</c:v>
                </c:pt>
                <c:pt idx="29">
                  <c:v>0.34447053289421725</c:v>
                </c:pt>
                <c:pt idx="30">
                  <c:v>0.34349788377250118</c:v>
                </c:pt>
                <c:pt idx="31">
                  <c:v>0.3427895513541277</c:v>
                </c:pt>
                <c:pt idx="32">
                  <c:v>0.34177526324465179</c:v>
                </c:pt>
                <c:pt idx="33">
                  <c:v>0.34093492865976716</c:v>
                </c:pt>
                <c:pt idx="34">
                  <c:v>0.33978102060440535</c:v>
                </c:pt>
                <c:pt idx="35">
                  <c:v>0.33878285988492807</c:v>
                </c:pt>
                <c:pt idx="36">
                  <c:v>0.33740880941851531</c:v>
                </c:pt>
                <c:pt idx="37">
                  <c:v>0.33605125288363535</c:v>
                </c:pt>
                <c:pt idx="38">
                  <c:v>0.33481401838674996</c:v>
                </c:pt>
                <c:pt idx="39">
                  <c:v>0.33378854020744314</c:v>
                </c:pt>
                <c:pt idx="40">
                  <c:v>0.33298826450335289</c:v>
                </c:pt>
                <c:pt idx="41">
                  <c:v>0.33248526398884393</c:v>
                </c:pt>
                <c:pt idx="42">
                  <c:v>0.33204295283939811</c:v>
                </c:pt>
                <c:pt idx="43">
                  <c:v>0.33203999718111082</c:v>
                </c:pt>
                <c:pt idx="44">
                  <c:v>0.33211528968761878</c:v>
                </c:pt>
                <c:pt idx="45">
                  <c:v>0.33240868423907555</c:v>
                </c:pt>
                <c:pt idx="46">
                  <c:v>0.33292256127717351</c:v>
                </c:pt>
                <c:pt idx="47">
                  <c:v>0.33394546792067775</c:v>
                </c:pt>
                <c:pt idx="48">
                  <c:v>0.33507235749083597</c:v>
                </c:pt>
                <c:pt idx="49">
                  <c:v>0.33642982211856998</c:v>
                </c:pt>
                <c:pt idx="50">
                  <c:v>0.33798013053127313</c:v>
                </c:pt>
                <c:pt idx="51">
                  <c:v>0.33976870577355095</c:v>
                </c:pt>
                <c:pt idx="52">
                  <c:v>0.34143750943133411</c:v>
                </c:pt>
                <c:pt idx="53">
                  <c:v>0.34315454604860063</c:v>
                </c:pt>
                <c:pt idx="54">
                  <c:v>0.34467610058300757</c:v>
                </c:pt>
                <c:pt idx="55">
                  <c:v>0.34616367499650857</c:v>
                </c:pt>
                <c:pt idx="56">
                  <c:v>0.34719418967983745</c:v>
                </c:pt>
                <c:pt idx="57">
                  <c:v>0.34818641784400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8F-422B-9758-1B6687D57E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4969199"/>
        <c:axId val="1884967759"/>
      </c:lineChart>
      <c:catAx>
        <c:axId val="18849691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84967759"/>
        <c:crosses val="autoZero"/>
        <c:auto val="1"/>
        <c:lblAlgn val="ctr"/>
        <c:lblOffset val="100"/>
        <c:noMultiLvlLbl val="0"/>
      </c:catAx>
      <c:valAx>
        <c:axId val="1884967759"/>
        <c:scaling>
          <c:orientation val="minMax"/>
          <c:max val="0.4"/>
          <c:min val="0.2"/>
        </c:scaling>
        <c:delete val="1"/>
        <c:axPos val="l"/>
        <c:numFmt formatCode="0.0%" sourceLinked="1"/>
        <c:majorTickMark val="none"/>
        <c:minorTickMark val="none"/>
        <c:tickLblPos val="nextTo"/>
        <c:crossAx val="18849691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6F8-473C-A9B6-8EA071E6AA37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anchor="ctr" anchorCtr="1"/>
                <a:lstStyle/>
                <a:p>
                  <a:pPr>
                    <a:defRPr sz="1800" b="1" i="0" u="none" strike="noStrike" kern="1200" baseline="0">
                      <a:solidFill>
                        <a:srgbClr val="F47B20"/>
                      </a:solidFill>
                      <a:latin typeface="Source Sans Pro" panose="020B0503030403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6F8-473C-A9B6-8EA071E6AA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2060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B$3:$B$23</c:f>
              <c:strCache>
                <c:ptCount val="21"/>
                <c:pt idx="0">
                  <c:v>Trentino-A.A.</c:v>
                </c:pt>
                <c:pt idx="1">
                  <c:v>Valle d'Aosta</c:v>
                </c:pt>
                <c:pt idx="2">
                  <c:v>Veneto</c:v>
                </c:pt>
                <c:pt idx="3">
                  <c:v>Toscana</c:v>
                </c:pt>
                <c:pt idx="4">
                  <c:v>Lombardia</c:v>
                </c:pt>
                <c:pt idx="5">
                  <c:v>Abruzzo</c:v>
                </c:pt>
                <c:pt idx="6">
                  <c:v>Friuli-V.G.</c:v>
                </c:pt>
                <c:pt idx="7">
                  <c:v>Piemonte</c:v>
                </c:pt>
                <c:pt idx="8">
                  <c:v>Lazio</c:v>
                </c:pt>
                <c:pt idx="9">
                  <c:v>Italia</c:v>
                </c:pt>
                <c:pt idx="10">
                  <c:v>Campania</c:v>
                </c:pt>
                <c:pt idx="11">
                  <c:v>Emilia-Rom.</c:v>
                </c:pt>
                <c:pt idx="12">
                  <c:v>Marche</c:v>
                </c:pt>
                <c:pt idx="13">
                  <c:v>Sicilia</c:v>
                </c:pt>
                <c:pt idx="14">
                  <c:v>Umbria</c:v>
                </c:pt>
                <c:pt idx="15">
                  <c:v>Liguria</c:v>
                </c:pt>
                <c:pt idx="16">
                  <c:v>Puglia</c:v>
                </c:pt>
                <c:pt idx="17">
                  <c:v>Calabria</c:v>
                </c:pt>
                <c:pt idx="18">
                  <c:v>Sardegna</c:v>
                </c:pt>
                <c:pt idx="19">
                  <c:v>Molise</c:v>
                </c:pt>
                <c:pt idx="20">
                  <c:v>Basilicata</c:v>
                </c:pt>
              </c:strCache>
            </c:strRef>
          </c:cat>
          <c:val>
            <c:numRef>
              <c:f>Foglio2!$C$3:$C$23</c:f>
              <c:numCache>
                <c:formatCode>General</c:formatCode>
                <c:ptCount val="21"/>
                <c:pt idx="0">
                  <c:v>77.5</c:v>
                </c:pt>
                <c:pt idx="1">
                  <c:v>74.400000000000006</c:v>
                </c:pt>
                <c:pt idx="2">
                  <c:v>72.599999999999994</c:v>
                </c:pt>
                <c:pt idx="3">
                  <c:v>71.599999999999994</c:v>
                </c:pt>
                <c:pt idx="4">
                  <c:v>70.3</c:v>
                </c:pt>
                <c:pt idx="5">
                  <c:v>70.2</c:v>
                </c:pt>
                <c:pt idx="6">
                  <c:v>69.400000000000006</c:v>
                </c:pt>
                <c:pt idx="7">
                  <c:v>68.900000000000006</c:v>
                </c:pt>
                <c:pt idx="8">
                  <c:v>68.8</c:v>
                </c:pt>
                <c:pt idx="9">
                  <c:v>68.7</c:v>
                </c:pt>
                <c:pt idx="10">
                  <c:v>68.7</c:v>
                </c:pt>
                <c:pt idx="11">
                  <c:v>68.400000000000006</c:v>
                </c:pt>
                <c:pt idx="12">
                  <c:v>68.099999999999994</c:v>
                </c:pt>
                <c:pt idx="13">
                  <c:v>66.3</c:v>
                </c:pt>
                <c:pt idx="14">
                  <c:v>66</c:v>
                </c:pt>
                <c:pt idx="15">
                  <c:v>65.900000000000006</c:v>
                </c:pt>
                <c:pt idx="16">
                  <c:v>64.900000000000006</c:v>
                </c:pt>
                <c:pt idx="17">
                  <c:v>64.8</c:v>
                </c:pt>
                <c:pt idx="18">
                  <c:v>63.1</c:v>
                </c:pt>
                <c:pt idx="19">
                  <c:v>61.7</c:v>
                </c:pt>
                <c:pt idx="20">
                  <c:v>6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F8-473C-A9B6-8EA071E6AA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-27"/>
        <c:axId val="1347753439"/>
        <c:axId val="1347746719"/>
      </c:barChart>
      <c:catAx>
        <c:axId val="1347753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rgbClr val="002060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it-IT"/>
          </a:p>
        </c:txPr>
        <c:crossAx val="1347746719"/>
        <c:crosses val="autoZero"/>
        <c:auto val="1"/>
        <c:lblAlgn val="ctr"/>
        <c:lblOffset val="100"/>
        <c:noMultiLvlLbl val="0"/>
      </c:catAx>
      <c:valAx>
        <c:axId val="13477467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477534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2060"/>
          </a:solidFill>
          <a:latin typeface="Source Sans Pro" panose="020B0503030403020204" pitchFamily="34" charset="0"/>
        </a:defRPr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FE021-706E-41F7-8A59-F734FCCD14D0}" type="datetimeFigureOut">
              <a:rPr lang="en-US" smtClean="0"/>
              <a:t>6/25/2025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1C4AF9-2104-4088-A904-5FD50FEA80B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780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1C4AF9-2104-4088-A904-5FD50FEA80B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83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41EA0-8B60-ED8A-BFBF-914D31C13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C0815025-C3F1-F63E-CE37-B704C1714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764666-F0F8-FD11-4A87-91E52B272F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8710545-EAC4-E7CB-1D2B-2C56D779D4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18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1C4AF9-2104-4088-A904-5FD50FEA80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MS PGothic" pitchFamily="34" charset="-128"/>
                <a:cs typeface="+mn-cs"/>
              </a:rPr>
              <a:pPr marL="0" marR="0" lvl="0" indent="0" algn="r" defTabSz="94187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027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econdo lo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cenario peggior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al 2080 ci sarebbero soltanto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9,3 milioni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Italiani, una decrescita del   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– 33%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rispetto ai livelli del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23</a:t>
            </a:r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F1C734-7D50-450A-82EC-5028F32AC40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79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dirty="0">
                <a:solidFill>
                  <a:schemeClr val="tx1"/>
                </a:solidFill>
              </a:rPr>
              <a:t>MAZZEO: mettere una slide quando si parla di sanità dicendo che sappiamo qual è il trend dei costi e delle patologie in Toscana e la crescita della riorganizzazione della sanità per non fare esplodere il sistema sanitario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F1C734-7D50-450A-82EC-5028F32AC40E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83533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40100" indent="-34290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cs typeface="Times New Roman" panose="02020603050405020304" pitchFamily="18" charset="0"/>
              </a:rPr>
              <a:t>La Toscana presenta un quadro sanitario caratterizzato da una significativa diffusione delle malattie croniche, influenzata principalmente dall'</a:t>
            </a:r>
            <a:r>
              <a:rPr lang="it-IT" sz="1200" b="1" dirty="0">
                <a:cs typeface="Times New Roman" panose="02020603050405020304" pitchFamily="18" charset="0"/>
              </a:rPr>
              <a:t>invecchiamento demografico </a:t>
            </a:r>
            <a:r>
              <a:rPr lang="it-IT" sz="1200" dirty="0">
                <a:cs typeface="Times New Roman" panose="02020603050405020304" pitchFamily="18" charset="0"/>
              </a:rPr>
              <a:t>e dall'aumento di patologie croniche legate a </a:t>
            </a:r>
            <a:r>
              <a:rPr lang="it-IT" sz="1200" b="1" dirty="0">
                <a:cs typeface="Times New Roman" panose="02020603050405020304" pitchFamily="18" charset="0"/>
              </a:rPr>
              <a:t>stili di vita non salutari</a:t>
            </a:r>
          </a:p>
          <a:p>
            <a:pPr marL="440100" indent="-34290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cs typeface="Times New Roman" panose="02020603050405020304" pitchFamily="18" charset="0"/>
              </a:rPr>
              <a:t>La promozione di un invecchiamento attivo e in salute può consentire di </a:t>
            </a:r>
            <a:r>
              <a:rPr lang="it-IT" sz="1200" b="1" dirty="0">
                <a:cs typeface="Times New Roman" panose="02020603050405020304" pitchFamily="18" charset="0"/>
              </a:rPr>
              <a:t>ridurre la pressione sul sistema sanitario regionale</a:t>
            </a:r>
          </a:p>
          <a:p>
            <a:pPr marL="440100" indent="-34290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cs typeface="Times New Roman" panose="02020603050405020304" pitchFamily="18" charset="0"/>
              </a:rPr>
              <a:t>La Toscana può, quindi, porsi l’obiettivo al 2050 di ridurre il tasso di malattie croniche tra i suoi abitanti grazie a prevenzione e medicina personalizzata e adattare i sistemi urbani ed extra-urbani per l’invecchiamento attivo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1C4AF9-2104-4088-A904-5FD50FEA80B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033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1C4AF9-2104-4088-A904-5FD50FEA80B3}" type="slidenum">
              <a:rPr lang="en-US" smtClean="0"/>
              <a:t>7</a:t>
            </a:fld>
            <a:endParaRPr lang="en-US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F17430B-E4D2-0B98-F931-11620F057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73" y="5016852"/>
            <a:ext cx="6096528" cy="342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267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304800" y="4777194"/>
            <a:ext cx="6238240" cy="4651390"/>
          </a:xfrm>
        </p:spPr>
        <p:txBody>
          <a:bodyPr/>
          <a:lstStyle/>
          <a:p>
            <a:pPr algn="just"/>
            <a:r>
              <a:rPr lang="it-IT" dirty="0"/>
              <a:t>Guardando al futuro, la sanità del 2050 sarà profondamente diversa da quella attuale, con un approccio sempre più </a:t>
            </a:r>
            <a:r>
              <a:rPr lang="it-IT" b="1" dirty="0" err="1"/>
              <a:t>tailor</a:t>
            </a:r>
            <a:r>
              <a:rPr lang="it-IT" b="1" dirty="0"/>
              <a:t>-made</a:t>
            </a:r>
            <a:r>
              <a:rPr lang="it-IT" dirty="0"/>
              <a:t>, in grado di adattarsi alle esigenze individuali attraverso l’integrazione di dati clinici, genetici e ambientali. Alcune innovazioni tecnologiche potrebbero trasformare il sistema sanitario entro il 2050, come la </a:t>
            </a:r>
            <a:r>
              <a:rPr lang="it-IT" b="1" dirty="0"/>
              <a:t>telemedicina evoluta</a:t>
            </a:r>
            <a:r>
              <a:rPr lang="it-IT" dirty="0"/>
              <a:t>, l’</a:t>
            </a:r>
            <a:r>
              <a:rPr lang="it-IT" b="1" dirty="0"/>
              <a:t>integrazione</a:t>
            </a:r>
            <a:r>
              <a:rPr lang="it-IT" dirty="0"/>
              <a:t> </a:t>
            </a:r>
            <a:r>
              <a:rPr lang="it-IT" b="1" dirty="0"/>
              <a:t>uomo-macchina</a:t>
            </a:r>
            <a:r>
              <a:rPr lang="it-IT" dirty="0"/>
              <a:t>, il </a:t>
            </a:r>
            <a:r>
              <a:rPr lang="it-IT" b="1" dirty="0" err="1"/>
              <a:t>bioprinting</a:t>
            </a:r>
            <a:r>
              <a:rPr lang="it-IT" dirty="0"/>
              <a:t> e gli </a:t>
            </a:r>
            <a:r>
              <a:rPr lang="it-IT" b="1" dirty="0"/>
              <a:t>assistenti umanoidi per la terza età</a:t>
            </a:r>
            <a:r>
              <a:rPr lang="it-IT" dirty="0"/>
              <a:t>. Questi sviluppi rappresentano possibilità che, una volta integrate, potrebbero rispondere alle esigenze di una società in evoluzione e alle nuove sfide della salute pubblica. Le applicazioni della telemedicina, per esempio, potrebbero consentire diagnosi e trattamenti a distanza, migliorando l’accesso ai servizi sanitari. L’integrazione uomo-macchina, invece, apre prospettive per la riabilitazione e il trattamento di patologie gravi. Il </a:t>
            </a:r>
            <a:r>
              <a:rPr lang="it-IT" dirty="0" err="1"/>
              <a:t>bioprinting</a:t>
            </a:r>
            <a:r>
              <a:rPr lang="it-IT" dirty="0"/>
              <a:t> potrebbe rivoluzionare la medicina rigenerativa, consentendo la ricostruzione di tessuti e organi, mentre gli assistenti umanoidi rappresentano un’opzione per supportare l’assistenza alla terza età.</a:t>
            </a:r>
          </a:p>
          <a:p>
            <a:pPr algn="just"/>
            <a:r>
              <a:rPr lang="it-IT" dirty="0"/>
              <a:t>Garantire il benessere diffuso significa</a:t>
            </a:r>
            <a:r>
              <a:rPr lang="it-IT" b="1" dirty="0"/>
              <a:t> mettere al centro la salute, la qualità della vita e l’inclusione sociale</a:t>
            </a:r>
            <a:r>
              <a:rPr lang="it-IT" dirty="0"/>
              <a:t>. La Toscana deve essere un luogo dove ogni cittadino, dalla nascita alla vecchiaia, possa godere di </a:t>
            </a:r>
            <a:r>
              <a:rPr lang="it-IT" b="1" dirty="0"/>
              <a:t>una vita sana, longeva e piena di opportunità</a:t>
            </a:r>
            <a:r>
              <a:rPr lang="it-IT" dirty="0"/>
              <a:t>. Le politiche regionali dovranno favorire l'accesso universale a cure sanitarie di qualità, sostenendo al contempo la medicina preventiva e le politiche di promozione della salute.</a:t>
            </a:r>
          </a:p>
          <a:p>
            <a:pPr algn="just"/>
            <a:r>
              <a:rPr lang="it-IT" dirty="0"/>
              <a:t>L'invecchiamento della popolazione è una delle sfide principali della Toscana, ma può essere trasformato in un'opportunità se accompagnato da </a:t>
            </a:r>
            <a:r>
              <a:rPr lang="it-IT" b="1" dirty="0"/>
              <a:t>politiche di supporto alla popolazione senior</a:t>
            </a:r>
            <a:r>
              <a:rPr lang="it-IT" dirty="0"/>
              <a:t>, anche attraverso un sistema di </a:t>
            </a:r>
            <a:r>
              <a:rPr lang="it-IT" i="1" dirty="0"/>
              <a:t>welfare</a:t>
            </a:r>
            <a:r>
              <a:rPr lang="it-IT" dirty="0"/>
              <a:t> che promuova l’autonomia e l’inclusione sociale. Accanto alla salute fisica, è fondamentale considerare il benessere mentale e psicologico, creando spazi di supporto e integrazione per tutti i cittadini. Infine, le politiche urbanistiche e ambientali dovranno promuovere la creazione di spazi pubblici che favoriscano il benessere fisico e relazionale, con infrastrutture accessibili, luoghi per la cultura e il tempo libero, e un ambiente salubre e sicuro.</a:t>
            </a:r>
          </a:p>
          <a:p>
            <a:pPr algn="just"/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1C4AF9-2104-4088-A904-5FD50FEA80B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359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422275" y="4777194"/>
            <a:ext cx="5953125" cy="4519206"/>
          </a:xfrm>
        </p:spPr>
        <p:txBody>
          <a:bodyPr/>
          <a:lstStyle/>
          <a:p>
            <a:r>
              <a:rPr lang="it-IT" dirty="0"/>
              <a:t>Le linee strategiche d’indirizzo per accompagnare la Toscana nel medio- lungo termine verso il 2050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Ripensamento della spesa pubblica: è fondamentale riconsiderare le priorità di allocazione delle risorse, al fine di garantire una distribuzione più equa e sostenibil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Rafforzamento della medicina territoriale: il consolidamento della rete capillare di servizi sanitari sul territorio è essenziale per rispondere alle esigenze di una società sempre più anziana e diversificata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Potenziamento della formazione sanitaria: investire nella formazione continua del personale sanitario è cruciale per affrontare le sfide poste da nuove patologie e tecnologie emergenti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Investimenti nel sistema scolastico e professionale: la preparazione di futuri operatori sanitari passa attraverso un sistema educativo in grado di coniugare qualità, inclusione e innovazion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Apertura alle tecnologie sanitarie 5.0: l’integrazione di nuove tecnologie è cruciale e deve essere guidata da una strategia chiara che metta al centro il benessere del pazient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Promozione di una progressiva integrazione tra turismo e benessere, con percorsi di “wellness </a:t>
            </a:r>
            <a:r>
              <a:rPr lang="it-IT" dirty="0" err="1"/>
              <a:t>tourism</a:t>
            </a:r>
            <a:r>
              <a:rPr lang="it-IT" dirty="0"/>
              <a:t>” legati alla natura, terme e cultura del movimento, combinando tradizione e innovazione scientifica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it-IT" dirty="0"/>
              <a:t>Gestione sanitaria su scala diffusa: promuovere un modello organizzativo che valorizzi la collaborazione tra strutture locali, regionali e nazionali.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1C4AF9-2104-4088-A904-5FD50FEA80B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2811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1C4AF9-2104-4088-A904-5FD50FEA80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13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jpe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9" name="Segnaposto testo 5">
            <a:extLst>
              <a:ext uri="{FF2B5EF4-FFF2-40B4-BE49-F238E27FC236}">
                <a16:creationId xmlns:a16="http://schemas.microsoft.com/office/drawing/2014/main" id="{C381A194-FD88-4937-AD2C-F0D70BAFD6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  <p:sp>
        <p:nvSpPr>
          <p:cNvPr id="13" name="Segnaposto testo 7">
            <a:extLst>
              <a:ext uri="{FF2B5EF4-FFF2-40B4-BE49-F238E27FC236}">
                <a16:creationId xmlns:a16="http://schemas.microsoft.com/office/drawing/2014/main" id="{63D91A6B-A4AD-471F-802C-625681E21B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635163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5BE25C0C-F577-4EE2-84EA-BCA174D52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2" y="6074303"/>
            <a:ext cx="1186438" cy="54223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F3B73F4-0B4C-40E3-95F7-50E3533632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5685" y="449722"/>
            <a:ext cx="1801372" cy="365761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BE889EA-BA37-4F96-B04C-15487D8FAE5F}"/>
              </a:ext>
            </a:extLst>
          </p:cNvPr>
          <p:cNvSpPr txBox="1"/>
          <p:nvPr userDrawn="1"/>
        </p:nvSpPr>
        <p:spPr>
          <a:xfrm>
            <a:off x="1837661" y="3988926"/>
            <a:ext cx="8516679" cy="812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gain in 2021, for the eighth consecutive year, 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European House – </a:t>
            </a:r>
            <a:r>
              <a:rPr lang="en-US" sz="1200" b="1" i="1" err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mbrosetti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was named</a:t>
            </a: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— in the category “Best Private Think Tanks” — 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no. 1 think tank in Italy, the no. 4 think tank in the European Union and among the most respected independents in the world out of 11,175 on a global level in the latest “Global Go To Think Tanks Report”</a:t>
            </a: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of the University of Pennsylvania.</a:t>
            </a:r>
          </a:p>
        </p:txBody>
      </p:sp>
    </p:spTree>
    <p:extLst>
      <p:ext uri="{BB962C8B-B14F-4D97-AF65-F5344CB8AC3E}">
        <p14:creationId xmlns:p14="http://schemas.microsoft.com/office/powerpoint/2010/main" val="23719763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2A8AA205-C10B-BA53-41DA-61B8071E9A46}"/>
              </a:ext>
            </a:extLst>
          </p:cNvPr>
          <p:cNvSpPr/>
          <p:nvPr userDrawn="1"/>
        </p:nvSpPr>
        <p:spPr>
          <a:xfrm>
            <a:off x="0" y="1019865"/>
            <a:ext cx="12192000" cy="50507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20000" indent="-358775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SzPct val="75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715962" indent="0">
              <a:buClr>
                <a:srgbClr val="F47B20"/>
              </a:buClr>
              <a:buNone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115F9EB4-1361-FEBD-080C-421BFD79A7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7094" y="6450289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693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271711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5" name="Immagine 4" descr="Immagine che contiene testo&#10;&#10;Descrizione generata automaticamente">
            <a:extLst>
              <a:ext uri="{FF2B5EF4-FFF2-40B4-BE49-F238E27FC236}">
                <a16:creationId xmlns:a16="http://schemas.microsoft.com/office/drawing/2014/main" id="{0981F08F-C23F-18A0-B129-A9899247D3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02" y="6022023"/>
            <a:ext cx="1319453" cy="602298"/>
          </a:xfrm>
          <a:prstGeom prst="rect">
            <a:avLst/>
          </a:prstGeom>
        </p:spPr>
      </p:pic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680D4DD2-0D52-433E-E9B2-408D5D4D7A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9993740" y="383727"/>
            <a:ext cx="1883286" cy="378886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FCFEFCD6-B647-4E83-F323-CA45A380B17D}"/>
              </a:ext>
            </a:extLst>
          </p:cNvPr>
          <p:cNvSpPr txBox="1"/>
          <p:nvPr userDrawn="1"/>
        </p:nvSpPr>
        <p:spPr>
          <a:xfrm>
            <a:off x="2025146" y="4192108"/>
            <a:ext cx="8516679" cy="792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al 2013 The </a:t>
            </a:r>
            <a:r>
              <a:rPr lang="it-IT" sz="1200" i="1" err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European</a:t>
            </a: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House - Ambrosetti è stata nominata nella categoria "Best Private </a:t>
            </a:r>
            <a:r>
              <a:rPr lang="it-IT" sz="1200" i="1" err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hink</a:t>
            </a: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Tanks" - 1° </a:t>
            </a:r>
            <a:r>
              <a:rPr lang="it-IT" sz="1200" i="1" err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hink</a:t>
            </a: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Tank in Italia, 4° nell’Unione Europea e tra i più rispettati indipendenti al mondo su 11.175 a livello globale </a:t>
            </a:r>
            <a:b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</a:b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(fonte: “Global Go To </a:t>
            </a:r>
            <a:r>
              <a:rPr lang="it-IT" sz="1200" i="1" err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hink</a:t>
            </a:r>
            <a:r>
              <a:rPr lang="it-IT" sz="1200" i="1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Tanks Report” dell’Università della Pennsylvania)</a:t>
            </a:r>
            <a:endParaRPr lang="it-IT" sz="1200" i="1">
              <a:solidFill>
                <a:srgbClr val="001E60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5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20000" indent="-358775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SzPct val="75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715962" indent="0">
              <a:buClr>
                <a:srgbClr val="F47B20"/>
              </a:buClr>
              <a:buNone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115F9EB4-1361-FEBD-080C-421BFD79A7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7094" y="6450289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53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19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004B5E75-9EA3-4549-AEDA-BA091BFEA3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483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662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325C0D9-8EE5-4942-818C-789CA58F97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2693" y="1172817"/>
            <a:ext cx="11384495" cy="483041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685800" indent="-228600">
              <a:spcBef>
                <a:spcPts val="600"/>
              </a:spcBef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143000" indent="-228600">
              <a:spcBef>
                <a:spcPts val="600"/>
              </a:spcBef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163808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/>
          </p:nvPr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</a:t>
            </a:r>
            <a:r>
              <a:rPr lang="it-IT" err="1"/>
              <a:t>modifi</a:t>
            </a:r>
            <a:endParaRPr lang="it-IT"/>
          </a:p>
          <a:p>
            <a:pPr lvl="0"/>
            <a:r>
              <a:rPr lang="it-IT"/>
              <a:t>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6A155220-E1DC-4565-A549-DEBA9CB9D55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087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8085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itolo 3">
            <a:extLst>
              <a:ext uri="{FF2B5EF4-FFF2-40B4-BE49-F238E27FC236}">
                <a16:creationId xmlns:a16="http://schemas.microsoft.com/office/drawing/2014/main" id="{AE3AEA8B-7EF7-48E0-8F79-68E36FE07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1"/>
            <a:ext cx="11380698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FE5B7131-B83A-4CD1-A50A-7F5AF6DF9D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887" y="1311248"/>
            <a:ext cx="113806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175801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di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olo Test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err="1"/>
              <a:t>Titolo</a:t>
            </a:r>
            <a:r>
              <a:t> </a:t>
            </a:r>
            <a:r>
              <a:rPr err="1"/>
              <a:t>Testo</a:t>
            </a:r>
            <a:endParaRPr/>
          </a:p>
        </p:txBody>
      </p:sp>
      <p:sp>
        <p:nvSpPr>
          <p:cNvPr id="42" name="Segnaposto testo 8"/>
          <p:cNvSpPr>
            <a:spLocks noGrp="1"/>
          </p:cNvSpPr>
          <p:nvPr>
            <p:ph type="body" sz="half" idx="21"/>
          </p:nvPr>
        </p:nvSpPr>
        <p:spPr>
          <a:xfrm>
            <a:off x="1849041" y="2008146"/>
            <a:ext cx="9836945" cy="3371319"/>
          </a:xfrm>
          <a:prstGeom prst="rect">
            <a:avLst/>
          </a:prstGeom>
        </p:spPr>
        <p:txBody>
          <a:bodyPr anchor="t"/>
          <a:lstStyle/>
          <a:p>
            <a:pPr>
              <a:lnSpc>
                <a:spcPct val="100000"/>
              </a:lnSpc>
              <a:defRPr>
                <a:solidFill>
                  <a:srgbClr val="898988"/>
                </a:solidFill>
                <a:latin typeface="Raleway"/>
                <a:ea typeface="Raleway"/>
                <a:cs typeface="Raleway"/>
                <a:sym typeface="Raleway"/>
              </a:defRPr>
            </a:pPr>
            <a:endParaRPr/>
          </a:p>
        </p:txBody>
      </p:sp>
      <p:pic>
        <p:nvPicPr>
          <p:cNvPr id="7" name="Google Shape;40;p5" descr="Immagine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9995551" y="6217100"/>
            <a:ext cx="1582995" cy="60953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41;p5"/>
          <p:cNvSpPr txBox="1">
            <a:spLocks/>
          </p:cNvSpPr>
          <p:nvPr userDrawn="1"/>
        </p:nvSpPr>
        <p:spPr>
          <a:xfrm>
            <a:off x="881475" y="6164915"/>
            <a:ext cx="459645" cy="357805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spcFirstLastPara="1" wrap="square" lIns="60933" tIns="60933" rIns="60933" bIns="60933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lvl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0" marR="0" lvl="1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lvl="2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0" marR="0" lvl="3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0" marR="0" lvl="4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0" marR="0" lvl="5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0" marR="0" lvl="6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0" marR="0" lvl="7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0" marR="0" lvl="8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fld id="{00000000-1234-1234-1234-123412341234}" type="slidenum">
              <a:rPr lang="en-US" sz="1200" b="0" smtClean="0"/>
              <a:pPr/>
              <a:t>‹N›</a:t>
            </a:fld>
            <a:endParaRPr lang="en-US" sz="1200" b="0"/>
          </a:p>
        </p:txBody>
      </p:sp>
    </p:spTree>
    <p:extLst>
      <p:ext uri="{BB962C8B-B14F-4D97-AF65-F5344CB8AC3E}">
        <p14:creationId xmlns:p14="http://schemas.microsoft.com/office/powerpoint/2010/main" val="2168603270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4974607C-01A8-EE00-D2DF-6E425206528A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050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94C82428-55DE-4FD0-9741-C26246591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37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94C82428-55DE-4FD0-9741-C26246591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olo 1">
            <a:extLst>
              <a:ext uri="{FF2B5EF4-FFF2-40B4-BE49-F238E27FC236}">
                <a16:creationId xmlns:a16="http://schemas.microsoft.com/office/drawing/2014/main" id="{C2BA107F-013F-4A8B-A41A-1FAC206EA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43505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B3FA94F2-F432-4074-80C8-0476AC6F63D2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176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211" y="467533"/>
            <a:ext cx="1801372" cy="34288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9" name="Segnaposto testo 5">
            <a:extLst>
              <a:ext uri="{FF2B5EF4-FFF2-40B4-BE49-F238E27FC236}">
                <a16:creationId xmlns:a16="http://schemas.microsoft.com/office/drawing/2014/main" id="{C381A194-FD88-4937-AD2C-F0D70BAFD6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  <p:sp>
        <p:nvSpPr>
          <p:cNvPr id="13" name="Segnaposto testo 7">
            <a:extLst>
              <a:ext uri="{FF2B5EF4-FFF2-40B4-BE49-F238E27FC236}">
                <a16:creationId xmlns:a16="http://schemas.microsoft.com/office/drawing/2014/main" id="{63D91A6B-A4AD-471F-802C-625681E21B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99977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Tutti i diritti riservati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211" y="467533"/>
            <a:ext cx="1801372" cy="34288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F52FC51-0662-4EDC-B14C-1634434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D6EB0F33-CCF1-46FD-B414-D857213FC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25225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36F2BC8-62C3-4F24-BB42-59F276552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042CA-34C0-4A72-BC0B-573E3CBB6EF3}" type="slidenum">
              <a:rPr lang="it-IT" smtClean="0"/>
              <a:t>‹N›</a:t>
            </a:fld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EAA1E96-3ACD-440D-A18C-A09482691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71161"/>
            <a:ext cx="11520000" cy="817129"/>
          </a:xfrm>
        </p:spPr>
        <p:txBody>
          <a:bodyPr anchor="ctr">
            <a:normAutofit/>
          </a:bodyPr>
          <a:lstStyle>
            <a:lvl1pPr>
              <a:defRPr sz="2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C45BD15-6777-4476-8C91-F44A75D132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265385"/>
            <a:ext cx="11520000" cy="4819218"/>
          </a:xfrm>
        </p:spPr>
        <p:txBody>
          <a:bodyPr>
            <a:noAutofit/>
          </a:bodyPr>
          <a:lstStyle>
            <a:lvl1pPr>
              <a:defRPr sz="1700">
                <a:latin typeface="Arial Nova Cond" panose="020B0506020202020204" pitchFamily="34" charset="0"/>
              </a:defRPr>
            </a:lvl1pPr>
            <a:lvl2pPr>
              <a:defRPr sz="1700">
                <a:latin typeface="Arial Nova Cond" panose="020B0506020202020204" pitchFamily="34" charset="0"/>
              </a:defRPr>
            </a:lvl2pPr>
            <a:lvl3pPr>
              <a:defRPr sz="1700">
                <a:latin typeface="Arial Nova Cond" panose="020B0506020202020204" pitchFamily="34" charset="0"/>
              </a:defRPr>
            </a:lvl3pPr>
            <a:lvl4pPr>
              <a:defRPr sz="1700">
                <a:latin typeface="Arial Nova Cond" panose="020B0506020202020204" pitchFamily="34" charset="0"/>
              </a:defRPr>
            </a:lvl4pPr>
            <a:lvl5pPr>
              <a:defRPr sz="1700">
                <a:latin typeface="Arial Nova Cond" panose="020B0506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46888935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Immagine" descr="Immag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16" y="437911"/>
            <a:ext cx="1150609" cy="1095221"/>
          </a:xfrm>
          <a:prstGeom prst="rect">
            <a:avLst/>
          </a:prstGeom>
          <a:ln w="12700">
            <a:miter lim="400000"/>
          </a:ln>
        </p:spPr>
      </p:pic>
      <p:pic>
        <p:nvPicPr>
          <p:cNvPr id="66" name="Immagine" descr="Immagin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600" y="663499"/>
            <a:ext cx="453728" cy="711779"/>
          </a:xfrm>
          <a:prstGeom prst="rect">
            <a:avLst/>
          </a:prstGeom>
          <a:ln w="12700">
            <a:miter lim="400000"/>
          </a:ln>
        </p:spPr>
      </p:pic>
      <p:sp>
        <p:nvSpPr>
          <p:cNvPr id="68" name="Titolo Testo"/>
          <p:cNvSpPr txBox="1">
            <a:spLocks noGrp="1"/>
          </p:cNvSpPr>
          <p:nvPr>
            <p:ph type="title" hasCustomPrompt="1"/>
          </p:nvPr>
        </p:nvSpPr>
        <p:spPr>
          <a:xfrm>
            <a:off x="1852933" y="614856"/>
            <a:ext cx="9375667" cy="470401"/>
          </a:xfrm>
          <a:prstGeom prst="rect">
            <a:avLst/>
          </a:prstGeom>
        </p:spPr>
        <p:txBody>
          <a:bodyPr anchor="t">
            <a:noAutofit/>
          </a:bodyPr>
          <a:lstStyle/>
          <a:p>
            <a:r>
              <a:t>Titolo Testo</a:t>
            </a:r>
          </a:p>
        </p:txBody>
      </p:sp>
      <p:sp>
        <p:nvSpPr>
          <p:cNvPr id="12" name="Google Shape;35;p5"/>
          <p:cNvSpPr/>
          <p:nvPr userDrawn="1"/>
        </p:nvSpPr>
        <p:spPr>
          <a:xfrm>
            <a:off x="-5645" y="6165977"/>
            <a:ext cx="11695599" cy="711780"/>
          </a:xfrm>
          <a:prstGeom prst="rect">
            <a:avLst/>
          </a:prstGeom>
          <a:solidFill>
            <a:srgbClr val="3F847E"/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3250"/>
              </a:buClr>
              <a:buSzPts val="1800"/>
              <a:buFont typeface="Calibri"/>
              <a:buNone/>
            </a:pPr>
            <a:endParaRPr sz="2400" b="0" i="0" u="none" strike="noStrike" cap="none">
              <a:solidFill>
                <a:srgbClr val="0F325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Google Shape;40;p5" descr="Immagine"/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9995551" y="6217100"/>
            <a:ext cx="1582995" cy="60953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41;p5">
            <a:extLst>
              <a:ext uri="{FF2B5EF4-FFF2-40B4-BE49-F238E27FC236}">
                <a16:creationId xmlns:a16="http://schemas.microsoft.com/office/drawing/2014/main" id="{BB5AFC65-E778-48CE-9D6D-3C6012A0DB4F}"/>
              </a:ext>
            </a:extLst>
          </p:cNvPr>
          <p:cNvSpPr txBox="1">
            <a:spLocks/>
          </p:cNvSpPr>
          <p:nvPr userDrawn="1"/>
        </p:nvSpPr>
        <p:spPr>
          <a:xfrm>
            <a:off x="881475" y="6164915"/>
            <a:ext cx="459645" cy="357805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spcFirstLastPara="1" wrap="square" lIns="60933" tIns="60933" rIns="60933" bIns="60933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lvl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0" marR="0" lvl="1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lvl="2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0" marR="0" lvl="3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0" marR="0" lvl="4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0" marR="0" lvl="5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0" marR="0" lvl="6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0" marR="0" lvl="7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0" marR="0" lvl="8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fld id="{00000000-1234-1234-1234-123412341234}" type="slidenum">
              <a:rPr lang="en-US" sz="1200" b="0" smtClean="0"/>
              <a:pPr/>
              <a:t>‹N›</a:t>
            </a:fld>
            <a:endParaRPr lang="en-US" sz="1200" b="0"/>
          </a:p>
        </p:txBody>
      </p:sp>
    </p:spTree>
    <p:extLst>
      <p:ext uri="{BB962C8B-B14F-4D97-AF65-F5344CB8AC3E}">
        <p14:creationId xmlns:p14="http://schemas.microsoft.com/office/powerpoint/2010/main" val="208514505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 hasCustomPrompt="1"/>
          </p:nvPr>
        </p:nvSpPr>
        <p:spPr>
          <a:xfrm>
            <a:off x="423991" y="224644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br>
              <a:rPr lang="it-IT"/>
            </a:br>
            <a:endParaRPr lang="it-IT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4" y="1248745"/>
            <a:ext cx="11344031" cy="4680520"/>
          </a:xfrm>
          <a:prstGeom prst="rect">
            <a:avLst/>
          </a:prstGeom>
        </p:spPr>
        <p:txBody>
          <a:bodyPr/>
          <a:lstStyle>
            <a:lvl1pPr marL="269883" indent="-269883">
              <a:buClr>
                <a:srgbClr val="F47B20"/>
              </a:buClr>
              <a:buFont typeface="Arial" panose="020B0604020202020204" pitchFamily="34" charset="0"/>
              <a:buChar char="•"/>
              <a:defRPr sz="2400">
                <a:solidFill>
                  <a:srgbClr val="001E60"/>
                </a:solidFill>
              </a:defRPr>
            </a:lvl1pPr>
            <a:lvl2pPr marL="541353" indent="-271471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2400">
                <a:solidFill>
                  <a:srgbClr val="001E60"/>
                </a:solidFill>
              </a:defRPr>
            </a:lvl2pPr>
            <a:lvl3pPr marL="804883" indent="-263532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1E60"/>
                </a:solidFill>
              </a:defRPr>
            </a:lvl3pPr>
            <a:lvl4pPr marL="1074765" indent="-35561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2" name="Picture 2" descr="Visualizza immagine di origine">
            <a:extLst>
              <a:ext uri="{FF2B5EF4-FFF2-40B4-BE49-F238E27FC236}">
                <a16:creationId xmlns:a16="http://schemas.microsoft.com/office/drawing/2014/main" id="{92DD80B9-0123-E17B-87E5-85B67DAABE2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1" t="27053" r="11020" b="30592"/>
          <a:stretch/>
        </p:blipFill>
        <p:spPr bwMode="auto">
          <a:xfrm>
            <a:off x="2073350" y="6204695"/>
            <a:ext cx="1499190" cy="44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0690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91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4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91" y="1772816"/>
            <a:ext cx="11344031" cy="4399387"/>
          </a:xfrm>
          <a:prstGeom prst="rect">
            <a:avLst/>
          </a:prstGeom>
        </p:spPr>
        <p:txBody>
          <a:bodyPr/>
          <a:lstStyle>
            <a:lvl1pPr marL="269883" indent="-269883">
              <a:buFont typeface="Wingdings" pitchFamily="2" charset="2"/>
              <a:buChar char="§"/>
              <a:defRPr sz="2400">
                <a:solidFill>
                  <a:srgbClr val="003A80"/>
                </a:solidFill>
              </a:defRPr>
            </a:lvl1pPr>
            <a:lvl2pPr marL="541353" indent="-271471"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</a:defRPr>
            </a:lvl2pPr>
            <a:lvl3pPr marL="804883" indent="-263532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</a:defRPr>
            </a:lvl3pPr>
            <a:lvl4pPr marL="1074765" indent="-35561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150976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Tutti i diritti riservati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F52FC51-0662-4EDC-B14C-1634434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D6EB0F33-CCF1-46FD-B414-D857213FC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6910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004B5E75-9EA3-4549-AEDA-BA091BFEA3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362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5 Tutti i diritti riservati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3" name="Immagine 2" descr="Immagine che contiene testo, Carattere, schermata, Elementi grafici&#10;&#10;Descrizione generata automaticamente">
            <a:extLst>
              <a:ext uri="{FF2B5EF4-FFF2-40B4-BE49-F238E27FC236}">
                <a16:creationId xmlns:a16="http://schemas.microsoft.com/office/drawing/2014/main" id="{470F3811-501E-367B-D1CE-79BD051BB1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52" y="457078"/>
            <a:ext cx="2025542" cy="320400"/>
          </a:xfrm>
          <a:prstGeom prst="rect">
            <a:avLst/>
          </a:prstGeom>
        </p:spPr>
      </p:pic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D174A84-4DE6-6732-6181-3BA30FCEE9F7}"/>
              </a:ext>
            </a:extLst>
          </p:cNvPr>
          <p:cNvSpPr txBox="1"/>
          <p:nvPr userDrawn="1"/>
        </p:nvSpPr>
        <p:spPr>
          <a:xfrm>
            <a:off x="8067059" y="6411888"/>
            <a:ext cx="2953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Non c’è vento a favore per chi non conosce il porto</a:t>
            </a:r>
          </a:p>
        </p:txBody>
      </p:sp>
    </p:spTree>
    <p:extLst>
      <p:ext uri="{BB962C8B-B14F-4D97-AF65-F5344CB8AC3E}">
        <p14:creationId xmlns:p14="http://schemas.microsoft.com/office/powerpoint/2010/main" val="3901604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itolo 3">
            <a:extLst>
              <a:ext uri="{FF2B5EF4-FFF2-40B4-BE49-F238E27FC236}">
                <a16:creationId xmlns:a16="http://schemas.microsoft.com/office/drawing/2014/main" id="{AE3AEA8B-7EF7-48E0-8F79-68E36FE07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1"/>
            <a:ext cx="11380698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FE5B7131-B83A-4CD1-A50A-7F5AF6DF9D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887" y="1311248"/>
            <a:ext cx="113806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977678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AF1AA52D-1F29-BA58-1F84-7DCA05BA6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487423" y="389697"/>
            <a:ext cx="2466212" cy="49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0200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3726549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94228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0D817E-C4FA-4351-999F-7171C217D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365125"/>
            <a:ext cx="10946432" cy="54359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0870828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35360" y="2141538"/>
            <a:ext cx="10191902" cy="2663998"/>
          </a:xfrm>
          <a:prstGeom prst="rect">
            <a:avLst/>
          </a:prstGeom>
        </p:spPr>
        <p:txBody>
          <a:bodyPr/>
          <a:lstStyle>
            <a:lvl1pPr>
              <a:spcBef>
                <a:spcPts val="738"/>
              </a:spcBef>
              <a:spcAft>
                <a:spcPts val="738"/>
              </a:spcAft>
              <a:buFontTx/>
              <a:buBlip>
                <a:blip r:embed="rId2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472860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477542"/>
            <a:ext cx="11344031" cy="4903787"/>
          </a:xfrm>
          <a:prstGeom prst="rect">
            <a:avLst/>
          </a:prstGeom>
        </p:spPr>
        <p:txBody>
          <a:bodyPr/>
          <a:lstStyle>
            <a:lvl1pPr marL="549045" indent="-549045">
              <a:spcBef>
                <a:spcPts val="738"/>
              </a:spcBef>
              <a:spcAft>
                <a:spcPts val="738"/>
              </a:spcAft>
              <a:buFont typeface="+mj-lt"/>
              <a:buAutoNum type="arabicPeriod"/>
              <a:defRPr sz="2000">
                <a:solidFill>
                  <a:srgbClr val="003A80"/>
                </a:solidFill>
              </a:defRPr>
            </a:lvl1pPr>
            <a:lvl2pPr marL="885115" indent="-319023">
              <a:spcBef>
                <a:spcPts val="738"/>
              </a:spcBef>
              <a:spcAft>
                <a:spcPts val="738"/>
              </a:spcAft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1792258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433771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232155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8338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9162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EE26DE63-0830-4EAA-ADA1-8B2FFC1676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614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69" y="692151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20061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793451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70" y="692153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69057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2B8A8D61-C940-42D6-A3CB-0F8A067068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806320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g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183986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3946178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41435870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4614275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9197169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138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7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415214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56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178524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2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87297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079126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9191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4 Tutti i diritti riservati.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4" name="Immagine 3" descr="Immagine che contiene testo, Carattere, linea, schermata&#10;&#10;Descrizione generata automaticamente">
            <a:extLst>
              <a:ext uri="{FF2B5EF4-FFF2-40B4-BE49-F238E27FC236}">
                <a16:creationId xmlns:a16="http://schemas.microsoft.com/office/drawing/2014/main" id="{C0BEF47D-DF6B-6374-F352-80DD99543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11" y="456097"/>
            <a:ext cx="2299426" cy="365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2146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9250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2" name="Segnaposto testo 14">
            <a:extLst>
              <a:ext uri="{FF2B5EF4-FFF2-40B4-BE49-F238E27FC236}">
                <a16:creationId xmlns:a16="http://schemas.microsoft.com/office/drawing/2014/main" id="{EB249097-AA13-5DDD-F610-130FBC570C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6779435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B3FA94F2-F432-4074-80C8-0476AC6F63D2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4594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83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9419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9769265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722715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5" name="Segnaposto contenuto 5">
            <a:extLst>
              <a:ext uri="{FF2B5EF4-FFF2-40B4-BE49-F238E27FC236}">
                <a16:creationId xmlns:a16="http://schemas.microsoft.com/office/drawing/2014/main" id="{E03CB189-36A0-410B-9D61-075B30C14D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25600"/>
            <a:ext cx="11290764" cy="4238488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512536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25C28F8-BBEF-40DE-AC54-2BC4793E63D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4163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7847940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40785943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64124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17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40898732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12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5763295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4720350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4" y="168278"/>
            <a:ext cx="11601938" cy="621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70" y="692153"/>
            <a:ext cx="11326447" cy="720725"/>
          </a:xfrm>
          <a:noFill/>
          <a:ln>
            <a:noFill/>
          </a:ln>
        </p:spPr>
        <p:txBody>
          <a:bodyPr/>
          <a:lstStyle>
            <a:lvl1pPr>
              <a:defRPr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215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215"/>
            </a:lvl2pPr>
            <a:lvl3pPr>
              <a:defRPr sz="2215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22098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22709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+TESTO MEDIO LUN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A1825A3-58F0-4043-960D-4FC358C1F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524" y="986472"/>
            <a:ext cx="11505675" cy="691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6F"/>
                </a:solidFill>
                <a:latin typeface="Tamigos" pitchFamily="50" charset="0"/>
              </a:defRPr>
            </a:lvl1pPr>
          </a:lstStyle>
          <a:p>
            <a:r>
              <a:rPr lang="it-IT"/>
              <a:t>FARE CLIC PER MODIFICARE 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03D99E8-AAB7-7045-A551-C15D512265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485" y="1828799"/>
            <a:ext cx="11429713" cy="423263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1pPr>
            <a:lvl2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2pPr>
            <a:lvl3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3pPr>
            <a:lvl4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4pPr>
            <a:lvl5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92713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5" name="Segnaposto contenuto 5">
            <a:extLst>
              <a:ext uri="{FF2B5EF4-FFF2-40B4-BE49-F238E27FC236}">
                <a16:creationId xmlns:a16="http://schemas.microsoft.com/office/drawing/2014/main" id="{E03CB189-36A0-410B-9D61-075B30C14D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25600"/>
            <a:ext cx="11290764" cy="4238488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355499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94C82428-55DE-4FD0-9741-C26246591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90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94C82428-55DE-4FD0-9741-C26246591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olo 1">
            <a:extLst>
              <a:ext uri="{FF2B5EF4-FFF2-40B4-BE49-F238E27FC236}">
                <a16:creationId xmlns:a16="http://schemas.microsoft.com/office/drawing/2014/main" id="{C2BA107F-013F-4A8B-A41A-1FAC206EA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14400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2" name="Segnaposto contenuto 9">
            <a:extLst>
              <a:ext uri="{FF2B5EF4-FFF2-40B4-BE49-F238E27FC236}">
                <a16:creationId xmlns:a16="http://schemas.microsoft.com/office/drawing/2014/main" id="{E06E4AC1-D9FD-47D4-4E92-F072BC43848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9765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004B5E75-9EA3-4549-AEDA-BA091BFEA3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031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4" y="0"/>
            <a:ext cx="11392446" cy="9029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27676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4" y="0"/>
            <a:ext cx="11392446" cy="9029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3" name="Segnaposto contenuto 9">
            <a:extLst>
              <a:ext uri="{FF2B5EF4-FFF2-40B4-BE49-F238E27FC236}">
                <a16:creationId xmlns:a16="http://schemas.microsoft.com/office/drawing/2014/main" id="{EF548FC1-714E-8D9C-0E96-37F9D598E4A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0372" y="1249363"/>
            <a:ext cx="11221296" cy="2276475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685800" indent="-228600">
              <a:buClr>
                <a:srgbClr val="F47B20"/>
              </a:buClr>
              <a:buFont typeface="Arial" panose="020B0604020202020204" pitchFamily="34" charset="0"/>
              <a:buChar char="•"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1143000" indent="-228600">
              <a:buClr>
                <a:srgbClr val="F47B20"/>
              </a:buClr>
              <a:buFont typeface="Arial" panose="020B0604020202020204" pitchFamily="34" charset="0"/>
              <a:buChar char="•"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600200" indent="-228600">
              <a:buClr>
                <a:srgbClr val="F47B20"/>
              </a:buClr>
              <a:buFont typeface="Arial" panose="020B0604020202020204" pitchFamily="34" charset="0"/>
              <a:buChar char="•"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 marL="2057400" indent="-228600">
              <a:buClr>
                <a:srgbClr val="F47B20"/>
              </a:buClr>
              <a:buFont typeface="Arial" panose="020B0604020202020204" pitchFamily="34" charset="0"/>
              <a:buChar char="•"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881510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211" y="467533"/>
            <a:ext cx="1801372" cy="34288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9" name="Segnaposto testo 5">
            <a:extLst>
              <a:ext uri="{FF2B5EF4-FFF2-40B4-BE49-F238E27FC236}">
                <a16:creationId xmlns:a16="http://schemas.microsoft.com/office/drawing/2014/main" id="{C381A194-FD88-4937-AD2C-F0D70BAFD6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  <p:sp>
        <p:nvSpPr>
          <p:cNvPr id="13" name="Segnaposto testo 7">
            <a:extLst>
              <a:ext uri="{FF2B5EF4-FFF2-40B4-BE49-F238E27FC236}">
                <a16:creationId xmlns:a16="http://schemas.microsoft.com/office/drawing/2014/main" id="{63D91A6B-A4AD-471F-802C-625681E21B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797595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Tutti i diritti riservati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211" y="467533"/>
            <a:ext cx="1801372" cy="34288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F52FC51-0662-4EDC-B14C-1634434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D6EB0F33-CCF1-46FD-B414-D857213FC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67160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1861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56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1863593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5" name="Segnaposto contenuto 5">
            <a:extLst>
              <a:ext uri="{FF2B5EF4-FFF2-40B4-BE49-F238E27FC236}">
                <a16:creationId xmlns:a16="http://schemas.microsoft.com/office/drawing/2014/main" id="{E03CB189-36A0-410B-9D61-075B30C14D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25600"/>
            <a:ext cx="11290764" cy="4238488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7160857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5" name="Segnaposto contenuto 5">
            <a:extLst>
              <a:ext uri="{FF2B5EF4-FFF2-40B4-BE49-F238E27FC236}">
                <a16:creationId xmlns:a16="http://schemas.microsoft.com/office/drawing/2014/main" id="{E03CB189-36A0-410B-9D61-075B30C14D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25600"/>
            <a:ext cx="11290764" cy="4238488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  <a:p>
            <a:pPr lvl="1"/>
            <a:r>
              <a:rPr lang="en-US" noProof="0"/>
              <a:t>Secondo livello</a:t>
            </a:r>
          </a:p>
          <a:p>
            <a:pPr lvl="2"/>
            <a:r>
              <a:rPr lang="en-US" noProof="0"/>
              <a:t>Terzo livello</a:t>
            </a:r>
          </a:p>
          <a:p>
            <a:pPr lvl="3"/>
            <a:r>
              <a:rPr lang="en-US" noProof="0"/>
              <a:t>Quarto livello</a:t>
            </a:r>
          </a:p>
          <a:p>
            <a:pPr lvl="4"/>
            <a:r>
              <a:rPr lang="en-US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927870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1249045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3093796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349572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5BE25C0C-F577-4EE2-84EA-BCA174D52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2" y="6074303"/>
            <a:ext cx="1186438" cy="54223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F3B73F4-0B4C-40E3-95F7-50E3533632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5685" y="449722"/>
            <a:ext cx="1801372" cy="36576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A3C1401-D991-47A4-B594-8E5AC6BDF054}"/>
              </a:ext>
            </a:extLst>
          </p:cNvPr>
          <p:cNvSpPr txBox="1"/>
          <p:nvPr userDrawn="1"/>
        </p:nvSpPr>
        <p:spPr>
          <a:xfrm>
            <a:off x="1837661" y="3963526"/>
            <a:ext cx="8516679" cy="792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</a:t>
            </a:r>
            <a:r>
              <a:rPr lang="it-IT" sz="1200" b="1" i="1" err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uropean</a:t>
            </a: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House - Ambrosetti è stata nominata </a:t>
            </a:r>
            <a:r>
              <a:rPr lang="it-IT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nche nel 2021, per l’ottavo anno consecutivo - nella categoria "Best Private Think Tanks" - </a:t>
            </a: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° Think Tank in Italia, 4° nell’Unione Europea e tra i più rispettati indipendenti al mondo su 11.175 a livello globale nell’ultima edizione del “Global Go To Think Tanks Report”</a:t>
            </a:r>
            <a:r>
              <a:rPr lang="it-IT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dell’Università della Pennsylvania.</a:t>
            </a:r>
          </a:p>
        </p:txBody>
      </p:sp>
    </p:spTree>
    <p:extLst>
      <p:ext uri="{BB962C8B-B14F-4D97-AF65-F5344CB8AC3E}">
        <p14:creationId xmlns:p14="http://schemas.microsoft.com/office/powerpoint/2010/main" val="36456382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5BE25C0C-F577-4EE2-84EA-BCA174D52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2" y="6074303"/>
            <a:ext cx="1186438" cy="54223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F3B73F4-0B4C-40E3-95F7-50E3533632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5685" y="449722"/>
            <a:ext cx="1801372" cy="365761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BE889EA-BA37-4F96-B04C-15487D8FAE5F}"/>
              </a:ext>
            </a:extLst>
          </p:cNvPr>
          <p:cNvSpPr txBox="1"/>
          <p:nvPr userDrawn="1"/>
        </p:nvSpPr>
        <p:spPr>
          <a:xfrm>
            <a:off x="1837661" y="3988926"/>
            <a:ext cx="8516679" cy="812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gain in 2021, for the eighth consecutive year, 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European House – </a:t>
            </a:r>
            <a:r>
              <a:rPr lang="en-US" sz="1200" b="1" i="1" err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mbrosetti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was named</a:t>
            </a: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— in the category “Best Private Think Tanks” — </a:t>
            </a:r>
            <a:r>
              <a:rPr lang="en-US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no. 1 think tank in Italy, the no. 4 think tank in the European Union and among the most respected independents in the world out of 11,175 on a global level in the latest “Global Go To Think Tanks Report”</a:t>
            </a:r>
            <a:r>
              <a:rPr lang="en-US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of the University of Pennsylvania.</a:t>
            </a:r>
          </a:p>
        </p:txBody>
      </p:sp>
    </p:spTree>
    <p:extLst>
      <p:ext uri="{BB962C8B-B14F-4D97-AF65-F5344CB8AC3E}">
        <p14:creationId xmlns:p14="http://schemas.microsoft.com/office/powerpoint/2010/main" val="16316441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di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olo Test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err="1"/>
              <a:t>Titolo</a:t>
            </a:r>
            <a:r>
              <a:t> </a:t>
            </a:r>
            <a:r>
              <a:rPr err="1"/>
              <a:t>Testo</a:t>
            </a:r>
            <a:endParaRPr/>
          </a:p>
        </p:txBody>
      </p:sp>
      <p:sp>
        <p:nvSpPr>
          <p:cNvPr id="42" name="Segnaposto testo 8"/>
          <p:cNvSpPr>
            <a:spLocks noGrp="1"/>
          </p:cNvSpPr>
          <p:nvPr>
            <p:ph type="body" sz="half" idx="21"/>
          </p:nvPr>
        </p:nvSpPr>
        <p:spPr>
          <a:xfrm>
            <a:off x="1849041" y="2008146"/>
            <a:ext cx="9836945" cy="3371319"/>
          </a:xfrm>
          <a:prstGeom prst="rect">
            <a:avLst/>
          </a:prstGeom>
        </p:spPr>
        <p:txBody>
          <a:bodyPr anchor="t"/>
          <a:lstStyle/>
          <a:p>
            <a:pPr>
              <a:lnSpc>
                <a:spcPct val="100000"/>
              </a:lnSpc>
              <a:defRPr>
                <a:solidFill>
                  <a:srgbClr val="898988"/>
                </a:solidFill>
                <a:latin typeface="Raleway"/>
                <a:ea typeface="Raleway"/>
                <a:cs typeface="Raleway"/>
                <a:sym typeface="Raleway"/>
              </a:defRPr>
            </a:pPr>
            <a:endParaRPr/>
          </a:p>
        </p:txBody>
      </p:sp>
      <p:pic>
        <p:nvPicPr>
          <p:cNvPr id="7" name="Google Shape;40;p5" descr="Immagine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9995551" y="6217100"/>
            <a:ext cx="1582995" cy="60953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41;p5"/>
          <p:cNvSpPr txBox="1">
            <a:spLocks/>
          </p:cNvSpPr>
          <p:nvPr userDrawn="1"/>
        </p:nvSpPr>
        <p:spPr>
          <a:xfrm>
            <a:off x="881475" y="6164915"/>
            <a:ext cx="459645" cy="357805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spcFirstLastPara="1" wrap="square" lIns="60933" tIns="60933" rIns="60933" bIns="60933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lvl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0" marR="0" lvl="1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lvl="2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0" marR="0" lvl="3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0" marR="0" lvl="4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0" marR="0" lvl="5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0" marR="0" lvl="6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0" marR="0" lvl="7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0" marR="0" lvl="8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fld id="{00000000-1234-1234-1234-123412341234}" type="slidenum">
              <a:rPr lang="en-US" sz="1200" b="0" smtClean="0"/>
              <a:pPr/>
              <a:t>‹N›</a:t>
            </a:fld>
            <a:endParaRPr lang="en-US" sz="1200" b="0"/>
          </a:p>
        </p:txBody>
      </p:sp>
    </p:spTree>
    <p:extLst>
      <p:ext uri="{BB962C8B-B14F-4D97-AF65-F5344CB8AC3E}">
        <p14:creationId xmlns:p14="http://schemas.microsoft.com/office/powerpoint/2010/main" val="1119806775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Immagine" descr="Immag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16" y="437911"/>
            <a:ext cx="1150609" cy="1095221"/>
          </a:xfrm>
          <a:prstGeom prst="rect">
            <a:avLst/>
          </a:prstGeom>
          <a:ln w="12700">
            <a:miter lim="400000"/>
          </a:ln>
        </p:spPr>
      </p:pic>
      <p:pic>
        <p:nvPicPr>
          <p:cNvPr id="66" name="Immagine" descr="Immagin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600" y="663499"/>
            <a:ext cx="453728" cy="711779"/>
          </a:xfrm>
          <a:prstGeom prst="rect">
            <a:avLst/>
          </a:prstGeom>
          <a:ln w="12700">
            <a:miter lim="400000"/>
          </a:ln>
        </p:spPr>
      </p:pic>
      <p:sp>
        <p:nvSpPr>
          <p:cNvPr id="68" name="Titolo Testo"/>
          <p:cNvSpPr txBox="1">
            <a:spLocks noGrp="1"/>
          </p:cNvSpPr>
          <p:nvPr>
            <p:ph type="title" hasCustomPrompt="1"/>
          </p:nvPr>
        </p:nvSpPr>
        <p:spPr>
          <a:xfrm>
            <a:off x="1852933" y="614856"/>
            <a:ext cx="9375667" cy="470401"/>
          </a:xfrm>
          <a:prstGeom prst="rect">
            <a:avLst/>
          </a:prstGeom>
        </p:spPr>
        <p:txBody>
          <a:bodyPr anchor="t">
            <a:noAutofit/>
          </a:bodyPr>
          <a:lstStyle/>
          <a:p>
            <a:r>
              <a:t>Titolo Testo</a:t>
            </a:r>
          </a:p>
        </p:txBody>
      </p:sp>
      <p:sp>
        <p:nvSpPr>
          <p:cNvPr id="12" name="Google Shape;35;p5"/>
          <p:cNvSpPr/>
          <p:nvPr userDrawn="1"/>
        </p:nvSpPr>
        <p:spPr>
          <a:xfrm>
            <a:off x="-5645" y="6165977"/>
            <a:ext cx="11695599" cy="711780"/>
          </a:xfrm>
          <a:prstGeom prst="rect">
            <a:avLst/>
          </a:prstGeom>
          <a:solidFill>
            <a:srgbClr val="3F847E"/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3250"/>
              </a:buClr>
              <a:buSzPts val="1800"/>
              <a:buFont typeface="Calibri"/>
              <a:buNone/>
            </a:pPr>
            <a:endParaRPr sz="2400" b="0" i="0" u="none" strike="noStrike" cap="none">
              <a:solidFill>
                <a:srgbClr val="0F325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Google Shape;40;p5" descr="Immagine"/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9995551" y="6217100"/>
            <a:ext cx="1582995" cy="60953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41;p5">
            <a:extLst>
              <a:ext uri="{FF2B5EF4-FFF2-40B4-BE49-F238E27FC236}">
                <a16:creationId xmlns:a16="http://schemas.microsoft.com/office/drawing/2014/main" id="{BB5AFC65-E778-48CE-9D6D-3C6012A0DB4F}"/>
              </a:ext>
            </a:extLst>
          </p:cNvPr>
          <p:cNvSpPr txBox="1">
            <a:spLocks/>
          </p:cNvSpPr>
          <p:nvPr userDrawn="1"/>
        </p:nvSpPr>
        <p:spPr>
          <a:xfrm>
            <a:off x="881475" y="6164915"/>
            <a:ext cx="459645" cy="357805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spcFirstLastPara="1" wrap="square" lIns="60933" tIns="60933" rIns="60933" bIns="60933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lvl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0" marR="0" lvl="1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lvl="2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0" marR="0" lvl="3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0" marR="0" lvl="4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0" marR="0" lvl="5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0" marR="0" lvl="6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0" marR="0" lvl="7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0" marR="0" lvl="8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Raleway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fld id="{00000000-1234-1234-1234-123412341234}" type="slidenum">
              <a:rPr lang="en-US" sz="1200" b="0" smtClean="0"/>
              <a:pPr/>
              <a:t>‹N›</a:t>
            </a:fld>
            <a:endParaRPr lang="en-US" sz="1200" b="0"/>
          </a:p>
        </p:txBody>
      </p:sp>
    </p:spTree>
    <p:extLst>
      <p:ext uri="{BB962C8B-B14F-4D97-AF65-F5344CB8AC3E}">
        <p14:creationId xmlns:p14="http://schemas.microsoft.com/office/powerpoint/2010/main" val="3437849512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91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4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91" y="1772816"/>
            <a:ext cx="11344031" cy="4399387"/>
          </a:xfrm>
          <a:prstGeom prst="rect">
            <a:avLst/>
          </a:prstGeom>
        </p:spPr>
        <p:txBody>
          <a:bodyPr/>
          <a:lstStyle>
            <a:lvl1pPr marL="269883" indent="-269883">
              <a:buFont typeface="Wingdings" pitchFamily="2" charset="2"/>
              <a:buChar char="§"/>
              <a:defRPr sz="2400">
                <a:solidFill>
                  <a:srgbClr val="003A80"/>
                </a:solidFill>
              </a:defRPr>
            </a:lvl1pPr>
            <a:lvl2pPr marL="541353" indent="-271471"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</a:defRPr>
            </a:lvl2pPr>
            <a:lvl3pPr marL="804883" indent="-263532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</a:defRPr>
            </a:lvl3pPr>
            <a:lvl4pPr marL="1074765" indent="-35561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2122485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19885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AF1AA52D-1F29-BA58-1F84-7DCA05BA6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487423" y="389697"/>
            <a:ext cx="2466212" cy="49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7756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86073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4076467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7263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0D817E-C4FA-4351-999F-7171C217D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365125"/>
            <a:ext cx="10946432" cy="54359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343729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35360" y="2141538"/>
            <a:ext cx="10191902" cy="2663998"/>
          </a:xfrm>
          <a:prstGeom prst="rect">
            <a:avLst/>
          </a:prstGeom>
        </p:spPr>
        <p:txBody>
          <a:bodyPr/>
          <a:lstStyle>
            <a:lvl1pPr>
              <a:spcBef>
                <a:spcPts val="738"/>
              </a:spcBef>
              <a:spcAft>
                <a:spcPts val="738"/>
              </a:spcAft>
              <a:buFontTx/>
              <a:buBlip>
                <a:blip r:embed="rId2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5096149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477542"/>
            <a:ext cx="11344031" cy="4903787"/>
          </a:xfrm>
          <a:prstGeom prst="rect">
            <a:avLst/>
          </a:prstGeom>
        </p:spPr>
        <p:txBody>
          <a:bodyPr/>
          <a:lstStyle>
            <a:lvl1pPr marL="549045" indent="-549045">
              <a:spcBef>
                <a:spcPts val="738"/>
              </a:spcBef>
              <a:spcAft>
                <a:spcPts val="738"/>
              </a:spcAft>
              <a:buFont typeface="+mj-lt"/>
              <a:buAutoNum type="arabicPeriod"/>
              <a:defRPr sz="2000">
                <a:solidFill>
                  <a:srgbClr val="003A80"/>
                </a:solidFill>
              </a:defRPr>
            </a:lvl1pPr>
            <a:lvl2pPr marL="885115" indent="-319023">
              <a:spcBef>
                <a:spcPts val="738"/>
              </a:spcBef>
              <a:spcAft>
                <a:spcPts val="738"/>
              </a:spcAft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5421212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433771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2013897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12737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EE26DE63-0830-4EAA-ADA1-8B2FFC1676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614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69" y="692151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20061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91007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70" y="692153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172725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2B8A8D61-C940-42D6-A3CB-0F8A067068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5029508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g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183986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610654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5BE25C0C-F577-4EE2-84EA-BCA174D52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2" y="6074303"/>
            <a:ext cx="1186438" cy="54223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F3B73F4-0B4C-40E3-95F7-50E3533632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5685" y="449722"/>
            <a:ext cx="1801372" cy="36576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A3C1401-D991-47A4-B594-8E5AC6BDF054}"/>
              </a:ext>
            </a:extLst>
          </p:cNvPr>
          <p:cNvSpPr txBox="1"/>
          <p:nvPr userDrawn="1"/>
        </p:nvSpPr>
        <p:spPr>
          <a:xfrm>
            <a:off x="1837661" y="3963526"/>
            <a:ext cx="8516679" cy="792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</a:t>
            </a:r>
            <a:r>
              <a:rPr lang="it-IT" sz="1200" b="1" i="1" err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uropean</a:t>
            </a: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House - Ambrosetti è stata nominata </a:t>
            </a:r>
            <a:r>
              <a:rPr lang="it-IT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nche nel 2021, per l’ottavo anno consecutivo - nella categoria "Best Private Think Tanks" - </a:t>
            </a:r>
            <a:r>
              <a:rPr lang="it-IT" sz="1200" b="1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° Think Tank in Italia, 4° nell’Unione Europea e tra i più rispettati indipendenti al mondo su 11.175 a livello globale nell’ultima edizione del “Global Go To Think Tanks Report”</a:t>
            </a:r>
            <a:r>
              <a:rPr lang="it-IT" sz="1200" i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dell’Università della Pennsylvania.</a:t>
            </a:r>
          </a:p>
        </p:txBody>
      </p:sp>
    </p:spTree>
    <p:extLst>
      <p:ext uri="{BB962C8B-B14F-4D97-AF65-F5344CB8AC3E}">
        <p14:creationId xmlns:p14="http://schemas.microsoft.com/office/powerpoint/2010/main" val="30333136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412916737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3046497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03112949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64397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7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24337884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2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1123072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8702955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1958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3 Tutti i diritti riservati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F52FC51-0662-4EDC-B14C-1634434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D6EB0F33-CCF1-46FD-B414-D857213FC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533B0AC8-C4E0-6EC8-9995-132E0F6F61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487423" y="389697"/>
            <a:ext cx="2466212" cy="49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57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20000" indent="-358775">
              <a:lnSpc>
                <a:spcPct val="100000"/>
              </a:lnSpc>
              <a:spcBef>
                <a:spcPts val="600"/>
              </a:spcBef>
              <a:buClr>
                <a:srgbClr val="F47B20"/>
              </a:buClr>
              <a:buSzPct val="75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715962" indent="0">
              <a:buClr>
                <a:srgbClr val="F47B20"/>
              </a:buClr>
              <a:buNone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115F9EB4-1361-FEBD-080C-421BFD79A7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7094" y="6450289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09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14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73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80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tags" Target="../tags/tag1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107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5" imgW="395" imgH="396" progId="TCLayout.ActiveDocument.1">
                  <p:embed/>
                </p:oleObj>
              </mc:Choice>
              <mc:Fallback>
                <p:oleObj name="Diapositiva think-cell" r:id="rId25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3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ED0D45C5-4E88-7A3A-93B8-45968E2A25FD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490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5" r:id="rId2"/>
    <p:sldLayoutId id="2147483666" r:id="rId3"/>
    <p:sldLayoutId id="2147483688" r:id="rId4"/>
    <p:sldLayoutId id="2147483673" r:id="rId5"/>
    <p:sldLayoutId id="2147483689" r:id="rId6"/>
    <p:sldLayoutId id="2147483674" r:id="rId7"/>
    <p:sldLayoutId id="2147483678" r:id="rId8"/>
    <p:sldLayoutId id="2147483680" r:id="rId9"/>
    <p:sldLayoutId id="2147483679" r:id="rId10"/>
    <p:sldLayoutId id="2147483691" r:id="rId11"/>
    <p:sldLayoutId id="2147484055" r:id="rId12"/>
    <p:sldLayoutId id="2147484057" r:id="rId13"/>
    <p:sldLayoutId id="2147484059" r:id="rId14"/>
    <p:sldLayoutId id="2147484060" r:id="rId15"/>
    <p:sldLayoutId id="2147484062" r:id="rId16"/>
    <p:sldLayoutId id="2147484063" r:id="rId17"/>
    <p:sldLayoutId id="2147484064" r:id="rId18"/>
    <p:sldLayoutId id="2147484065" r:id="rId19"/>
    <p:sldLayoutId id="2147484067" r:id="rId20"/>
    <p:sldLayoutId id="2147484115" r:id="rId21"/>
    <p:sldLayoutId id="2147484116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1E3A767-D8D3-4A34-BCBD-96D6C494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9706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473" imgH="476" progId="TCLayout.ActiveDocument.1">
                  <p:embed/>
                </p:oleObj>
              </mc:Choice>
              <mc:Fallback>
                <p:oleObj name="Diapositiva think-cell" r:id="rId23" imgW="473" imgH="47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1E3A767-D8D3-4A34-BCBD-96D6C494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6" name="Immagine 5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78A22B2E-110C-6630-3603-21584F9CDACB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166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355600" indent="-355600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n-cs"/>
        </a:defRPr>
      </a:lvl1pPr>
      <a:lvl2pPr marL="723900" indent="-379413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2pPr>
      <a:lvl3pPr marL="107950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 SemiBold" panose="020B0603030403020204" pitchFamily="34" charset="0"/>
        <a:buChar char="-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2" name="Immagine 1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C17C6E4B-14F9-4F84-E524-708093441A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937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268288" indent="-2682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  <a:cs typeface="+mn-cs"/>
        </a:defRPr>
      </a:lvl1pPr>
      <a:lvl2pPr marL="625475" indent="-2809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2pPr>
      <a:lvl3pPr marL="98425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" panose="020B0503030403020204" pitchFamily="34" charset="0"/>
        <a:buChar char="―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7" imgW="395" imgH="396" progId="TCLayout.ActiveDocument.1">
                  <p:embed/>
                </p:oleObj>
              </mc:Choice>
              <mc:Fallback>
                <p:oleObj name="Diapositiva think-cell" r:id="rId17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3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6E992FBD-7476-AAC6-077D-4E9AEFB2C6F6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38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2" r:id="rId12"/>
    <p:sldLayoutId id="2147484084" r:id="rId13"/>
    <p:sldLayoutId id="214748409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1E3A767-D8D3-4A34-BCBD-96D6C494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9706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473" imgH="476" progId="TCLayout.ActiveDocument.1">
                  <p:embed/>
                </p:oleObj>
              </mc:Choice>
              <mc:Fallback>
                <p:oleObj name="Diapositiva think-cell" r:id="rId23" imgW="473" imgH="47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1E3A767-D8D3-4A34-BCBD-96D6C494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6" name="Immagine 5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78A22B2E-110C-6630-3603-21584F9CDACB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833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  <p:sldLayoutId id="2147484113" r:id="rId19"/>
    <p:sldLayoutId id="2147484114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355600" indent="-355600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n-cs"/>
        </a:defRPr>
      </a:lvl1pPr>
      <a:lvl2pPr marL="723900" indent="-379413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2pPr>
      <a:lvl3pPr marL="107950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 SemiBold" panose="020B0603030403020204" pitchFamily="34" charset="0"/>
        <a:buChar char="-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395" imgH="396" progId="TCLayout.ActiveDocument.1">
                  <p:embed/>
                </p:oleObj>
              </mc:Choice>
              <mc:Fallback>
                <p:oleObj name="Diapositiva think-cell" r:id="rId16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3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655B1678-5C89-8532-5245-C4C97A7C2A57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08752"/>
            <a:ext cx="1620000" cy="52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271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9" r:id="rId11"/>
    <p:sldLayoutId id="2147484130" r:id="rId12"/>
    <p:sldLayoutId id="214748413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6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7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FA52CA-7A6E-D92A-0493-E80BB07B54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7B69B0A8-7A44-C54F-B479-121E1D767F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7B69B0A8-7A44-C54F-B479-121E1D767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8EEF087B-6652-7476-03D8-F446F6F8081D}"/>
              </a:ext>
            </a:extLst>
          </p:cNvPr>
          <p:cNvSpPr txBox="1"/>
          <p:nvPr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0359DC84-D002-7378-C1F7-513505F1E485}"/>
              </a:ext>
            </a:extLst>
          </p:cNvPr>
          <p:cNvSpPr txBox="1"/>
          <p:nvPr/>
        </p:nvSpPr>
        <p:spPr>
          <a:xfrm>
            <a:off x="240885" y="64426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5 Tutti i diritti riservat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CAC02F9-6A35-07CD-375F-65B1BE4A040B}"/>
              </a:ext>
            </a:extLst>
          </p:cNvPr>
          <p:cNvSpPr txBox="1"/>
          <p:nvPr/>
        </p:nvSpPr>
        <p:spPr>
          <a:xfrm>
            <a:off x="387152" y="1511657"/>
            <a:ext cx="11104632" cy="4444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1800"/>
              </a:spcBef>
              <a:defRPr/>
            </a:pPr>
            <a:r>
              <a:rPr lang="it-IT" sz="3600" b="1" dirty="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oscana 2050. Uno sguardo per anticipare il futu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LA SOCIETÀ DELLA LONGEVITÀ: LAVORO, COSTI, OPPORTUNITÀ E NUOVI PARADIGMI DI WELFARE </a:t>
            </a:r>
          </a:p>
          <a:p>
            <a:pPr lvl="0">
              <a:spcBef>
                <a:spcPts val="1800"/>
              </a:spcBef>
              <a:defRPr/>
            </a:pPr>
            <a:r>
              <a:rPr lang="it-IT" sz="3200" dirty="0">
                <a:solidFill>
                  <a:srgbClr val="00235A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Una visione d’insieme sulle principali analisi e proposte del rapporto conclusivo di “Toscana 2050”</a:t>
            </a:r>
          </a:p>
          <a:p>
            <a:pPr>
              <a:spcBef>
                <a:spcPts val="1800"/>
              </a:spcBef>
              <a:defRPr/>
            </a:pPr>
            <a:r>
              <a:rPr lang="it-IT" sz="2800" b="1" dirty="0">
                <a:solidFill>
                  <a:schemeClr val="bg1">
                    <a:lumMod val="50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io Parma </a:t>
            </a:r>
            <a:r>
              <a:rPr lang="it-IT" sz="220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(</a:t>
            </a:r>
            <a:r>
              <a:rPr lang="it-IT" sz="2200" i="1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Senior Consultant </a:t>
            </a:r>
            <a:r>
              <a:rPr lang="it-IT" sz="220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Area Scenari e </a:t>
            </a:r>
            <a:r>
              <a:rPr lang="en-GB" sz="2200" i="1" noProof="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Intelligence</a:t>
            </a:r>
            <a:r>
              <a:rPr lang="en-GB" sz="2200" noProof="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, TEHA Group</a:t>
            </a:r>
            <a:r>
              <a:rPr lang="it-IT" sz="220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 SemiBold" panose="020B0603030403020204" pitchFamily="34" charset="0"/>
              </a:rPr>
              <a:t>)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100" cap="none" spc="0" normalizeH="0" baseline="0" noProof="0" dirty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Source Sans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Firenze, Cinema La Compagnia, venerdì 27 giugno 2025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24FAAEB-D3F7-B5A0-DA90-1DD72CF8E0F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656"/>
          <a:stretch>
            <a:fillRect/>
          </a:stretch>
        </p:blipFill>
        <p:spPr>
          <a:xfrm>
            <a:off x="2981546" y="308920"/>
            <a:ext cx="1825232" cy="63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303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4C6BF0C8-E2B6-4FFC-56D7-53F932234A34}"/>
              </a:ext>
            </a:extLst>
          </p:cNvPr>
          <p:cNvSpPr/>
          <p:nvPr/>
        </p:nvSpPr>
        <p:spPr>
          <a:xfrm>
            <a:off x="1" y="562976"/>
            <a:ext cx="12191998" cy="42238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DC028A8-7FF6-2FDB-3050-2898FA9673B4}"/>
              </a:ext>
            </a:extLst>
          </p:cNvPr>
          <p:cNvSpPr txBox="1"/>
          <p:nvPr/>
        </p:nvSpPr>
        <p:spPr>
          <a:xfrm>
            <a:off x="3449258" y="883928"/>
            <a:ext cx="50662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Grazie per l’attenzione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DD77966F-2C50-AA10-023A-D964ABA41556}"/>
              </a:ext>
            </a:extLst>
          </p:cNvPr>
          <p:cNvSpPr txBox="1"/>
          <p:nvPr/>
        </p:nvSpPr>
        <p:spPr>
          <a:xfrm>
            <a:off x="3690490" y="2127766"/>
            <a:ext cx="458383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Pio Par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enior Consultant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it-IT" sz="1600" b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re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Scenari e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Intelligence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EHA Group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e-mail: pio.parma@ambrosetti.eu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5600EF0A-6369-0C06-52C3-DF9A182184EA}"/>
              </a:ext>
            </a:extLst>
          </p:cNvPr>
          <p:cNvSpPr txBox="1"/>
          <p:nvPr/>
        </p:nvSpPr>
        <p:spPr>
          <a:xfrm>
            <a:off x="3325818" y="4061319"/>
            <a:ext cx="531317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sng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www.ambrosetti.eu</a:t>
            </a: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237A5957-1F6B-8DA2-A616-016719109402}"/>
              </a:ext>
            </a:extLst>
          </p:cNvPr>
          <p:cNvSpPr txBox="1"/>
          <p:nvPr/>
        </p:nvSpPr>
        <p:spPr>
          <a:xfrm>
            <a:off x="1750656" y="5221309"/>
            <a:ext cx="10112263" cy="909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al 2013 TEHA Group è stata nominata nella categoria "Best Private Think Tanks" - 1° Think Tank in Italia, 4° nell’Unione Europea </a:t>
            </a:r>
            <a:b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</a:b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 tra i più rispettati indipendenti al mondo su 11.175 a livello globale (fonte: “Global Go To Think Tanks Report” dell’Università della Pennsylvania). TEHA Group è stata riconosciuta da Top </a:t>
            </a:r>
            <a:r>
              <a:rPr kumimoji="0" 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s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Institute come una delle 151 realtà Top </a:t>
            </a:r>
            <a:r>
              <a:rPr kumimoji="0" 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2025 in Italia.</a:t>
            </a:r>
          </a:p>
        </p:txBody>
      </p:sp>
      <p:pic>
        <p:nvPicPr>
          <p:cNvPr id="11" name="Immagine 10" descr="Immagine che contiene testo, Carattere, schermata, numero&#10;&#10;Descrizione generata automaticamente">
            <a:extLst>
              <a:ext uri="{FF2B5EF4-FFF2-40B4-BE49-F238E27FC236}">
                <a16:creationId xmlns:a16="http://schemas.microsoft.com/office/drawing/2014/main" id="{7B515DD5-0240-73A8-3EA8-26C67959D2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65" y="5324117"/>
            <a:ext cx="1519737" cy="703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664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FDF72E-2B52-FB0C-63AD-FA6F792DE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982A9CDA-0841-4A79-2202-C9009455ED27}"/>
              </a:ext>
            </a:extLst>
          </p:cNvPr>
          <p:cNvSpPr/>
          <p:nvPr/>
        </p:nvSpPr>
        <p:spPr bwMode="auto">
          <a:xfrm>
            <a:off x="1635895" y="6511927"/>
            <a:ext cx="8926218" cy="25853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202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4" name="Segnaposto contenuto 1">
            <a:extLst>
              <a:ext uri="{FF2B5EF4-FFF2-40B4-BE49-F238E27FC236}">
                <a16:creationId xmlns:a16="http://schemas.microsoft.com/office/drawing/2014/main" id="{200328E2-31CE-DB1C-C340-15CC09ED5B7F}"/>
              </a:ext>
            </a:extLst>
          </p:cNvPr>
          <p:cNvSpPr txBox="1">
            <a:spLocks/>
          </p:cNvSpPr>
          <p:nvPr/>
        </p:nvSpPr>
        <p:spPr>
          <a:xfrm>
            <a:off x="407989" y="0"/>
            <a:ext cx="11479212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“Toscana 2050” ha </a:t>
            </a:r>
            <a:r>
              <a:rPr kumimoji="0" lang="it-IT" b="0" i="0" u="none" strike="noStrike" kern="1200" cap="none" spc="0" normalizeH="0" baseline="0" noProof="0" dirty="0" err="1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nalizzat</a:t>
            </a:r>
            <a:r>
              <a:rPr lang="it-IT" dirty="0"/>
              <a:t>o i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5 grandi ambiti di trasformazione cui stanno andando incontro la nostra società e la nostra economia</a:t>
            </a:r>
            <a:endParaRPr kumimoji="0" lang="it-IT" b="0" i="1" u="none" strike="noStrike" kern="1200" cap="none" spc="0" normalizeH="0" baseline="0" noProof="0" dirty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336FFA6E-2550-C1FC-A7D6-386468853DFA}"/>
              </a:ext>
            </a:extLst>
          </p:cNvPr>
          <p:cNvGrpSpPr>
            <a:grpSpLocks noChangeAspect="1"/>
          </p:cNvGrpSpPr>
          <p:nvPr/>
        </p:nvGrpSpPr>
        <p:grpSpPr>
          <a:xfrm>
            <a:off x="1342746" y="1055253"/>
            <a:ext cx="9703379" cy="5388324"/>
            <a:chOff x="576935" y="981109"/>
            <a:chExt cx="10214083" cy="5671919"/>
          </a:xfrm>
        </p:grpSpPr>
        <p:grpSp>
          <p:nvGrpSpPr>
            <p:cNvPr id="3" name="Gruppo 2">
              <a:extLst>
                <a:ext uri="{FF2B5EF4-FFF2-40B4-BE49-F238E27FC236}">
                  <a16:creationId xmlns:a16="http://schemas.microsoft.com/office/drawing/2014/main" id="{4F19A69E-0B78-06CD-D9B0-E568C45084A6}"/>
                </a:ext>
              </a:extLst>
            </p:cNvPr>
            <p:cNvGrpSpPr/>
            <p:nvPr/>
          </p:nvGrpSpPr>
          <p:grpSpPr>
            <a:xfrm>
              <a:off x="576935" y="984399"/>
              <a:ext cx="3168254" cy="2991700"/>
              <a:chOff x="901967" y="1095409"/>
              <a:chExt cx="3168254" cy="2991700"/>
            </a:xfrm>
          </p:grpSpPr>
          <p:sp>
            <p:nvSpPr>
              <p:cNvPr id="20" name="Arc 6">
                <a:extLst>
                  <a:ext uri="{FF2B5EF4-FFF2-40B4-BE49-F238E27FC236}">
                    <a16:creationId xmlns:a16="http://schemas.microsoft.com/office/drawing/2014/main" id="{ABA85901-8AE3-0A54-AC34-5D09B852A84B}"/>
                  </a:ext>
                </a:extLst>
              </p:cNvPr>
              <p:cNvSpPr/>
              <p:nvPr/>
            </p:nvSpPr>
            <p:spPr>
              <a:xfrm rot="10800000">
                <a:off x="903055" y="1102319"/>
                <a:ext cx="3164945" cy="2984790"/>
              </a:xfrm>
              <a:prstGeom prst="arc">
                <a:avLst>
                  <a:gd name="adj1" fmla="val 10766207"/>
                  <a:gd name="adj2" fmla="val 0"/>
                </a:avLst>
              </a:prstGeom>
              <a:noFill/>
              <a:ln w="76200" cap="rnd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23" name="Oval 19">
                <a:extLst>
                  <a:ext uri="{FF2B5EF4-FFF2-40B4-BE49-F238E27FC236}">
                    <a16:creationId xmlns:a16="http://schemas.microsoft.com/office/drawing/2014/main" id="{041EFAD1-1D8E-6478-2CAC-D25EF2CB25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0668" y="1192229"/>
                <a:ext cx="911345" cy="913263"/>
              </a:xfrm>
              <a:prstGeom prst="ellipse">
                <a:avLst/>
              </a:prstGeom>
              <a:solidFill>
                <a:srgbClr val="0070C0"/>
              </a:solidFill>
              <a:ln w="7620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</a:t>
                </a:r>
              </a:p>
            </p:txBody>
          </p:sp>
          <p:sp>
            <p:nvSpPr>
              <p:cNvPr id="25" name="Rectangle 35">
                <a:extLst>
                  <a:ext uri="{FF2B5EF4-FFF2-40B4-BE49-F238E27FC236}">
                    <a16:creationId xmlns:a16="http://schemas.microsoft.com/office/drawing/2014/main" id="{4BCF610B-A71A-406F-18A1-6E6ADF64ECC4}"/>
                  </a:ext>
                </a:extLst>
              </p:cNvPr>
              <p:cNvSpPr/>
              <p:nvPr/>
            </p:nvSpPr>
            <p:spPr>
              <a:xfrm>
                <a:off x="901967" y="2321001"/>
                <a:ext cx="3166031" cy="1069119"/>
              </a:xfrm>
              <a:prstGeom prst="rect">
                <a:avLst/>
              </a:prstGeom>
              <a:ln w="76200">
                <a:noFill/>
              </a:ln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Urbanizzazione e andamento </a:t>
                </a:r>
                <a:b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</a:b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demografico </a:t>
                </a:r>
              </a:p>
            </p:txBody>
          </p:sp>
          <p:sp>
            <p:nvSpPr>
              <p:cNvPr id="19" name="Oval 5">
                <a:extLst>
                  <a:ext uri="{FF2B5EF4-FFF2-40B4-BE49-F238E27FC236}">
                    <a16:creationId xmlns:a16="http://schemas.microsoft.com/office/drawing/2014/main" id="{308E73E1-C198-9F06-3722-180BBB51B91A}"/>
                  </a:ext>
                </a:extLst>
              </p:cNvPr>
              <p:cNvSpPr/>
              <p:nvPr/>
            </p:nvSpPr>
            <p:spPr>
              <a:xfrm>
                <a:off x="901967" y="1095409"/>
                <a:ext cx="3168254" cy="2987911"/>
              </a:xfrm>
              <a:prstGeom prst="ellipse">
                <a:avLst/>
              </a:prstGeom>
              <a:noFill/>
              <a:ln w="76200" cap="flat" cmpd="sng" algn="ctr">
                <a:solidFill>
                  <a:srgbClr val="B2B2B2">
                    <a:alpha val="3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0" cap="none" spc="0" normalizeH="0" baseline="0" noProof="0">
                  <a:ln w="22225">
                    <a:solidFill>
                      <a:srgbClr val="85CA46"/>
                    </a:solidFill>
                    <a:prstDash val="solid"/>
                  </a:ln>
                  <a:solidFill>
                    <a:srgbClr val="85CA46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4" name="Gruppo 3">
              <a:extLst>
                <a:ext uri="{FF2B5EF4-FFF2-40B4-BE49-F238E27FC236}">
                  <a16:creationId xmlns:a16="http://schemas.microsoft.com/office/drawing/2014/main" id="{FFFC648E-7E58-A035-690C-472B35D33C87}"/>
                </a:ext>
              </a:extLst>
            </p:cNvPr>
            <p:cNvGrpSpPr/>
            <p:nvPr/>
          </p:nvGrpSpPr>
          <p:grpSpPr>
            <a:xfrm>
              <a:off x="4100393" y="981109"/>
              <a:ext cx="3168254" cy="2993096"/>
              <a:chOff x="4499976" y="1095409"/>
              <a:chExt cx="3168254" cy="2993096"/>
            </a:xfrm>
          </p:grpSpPr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A65464F0-AF70-B0AB-E3D1-FBB408B9194F}"/>
                  </a:ext>
                </a:extLst>
              </p:cNvPr>
              <p:cNvSpPr/>
              <p:nvPr/>
            </p:nvSpPr>
            <p:spPr>
              <a:xfrm>
                <a:off x="4499976" y="1100594"/>
                <a:ext cx="3168254" cy="2987911"/>
              </a:xfrm>
              <a:prstGeom prst="ellipse">
                <a:avLst/>
              </a:prstGeom>
              <a:noFill/>
              <a:ln w="76200" cap="flat" cmpd="sng" algn="ctr">
                <a:solidFill>
                  <a:srgbClr val="B2B2B2">
                    <a:alpha val="3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24" name="Oval 20">
                <a:extLst>
                  <a:ext uri="{FF2B5EF4-FFF2-40B4-BE49-F238E27FC236}">
                    <a16:creationId xmlns:a16="http://schemas.microsoft.com/office/drawing/2014/main" id="{FF49AFEF-B498-F365-CFD8-E222AA921A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9765" y="1211171"/>
                <a:ext cx="911345" cy="913263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7620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2</a:t>
                </a:r>
              </a:p>
            </p:txBody>
          </p:sp>
          <p:sp>
            <p:nvSpPr>
              <p:cNvPr id="26" name="Rectangle 36">
                <a:extLst>
                  <a:ext uri="{FF2B5EF4-FFF2-40B4-BE49-F238E27FC236}">
                    <a16:creationId xmlns:a16="http://schemas.microsoft.com/office/drawing/2014/main" id="{8103D1AE-8605-C4A3-FBB0-B275153EAEEA}"/>
                  </a:ext>
                </a:extLst>
              </p:cNvPr>
              <p:cNvSpPr/>
              <p:nvPr/>
            </p:nvSpPr>
            <p:spPr>
              <a:xfrm>
                <a:off x="4693107" y="2324292"/>
                <a:ext cx="2744868" cy="1069119"/>
              </a:xfrm>
              <a:prstGeom prst="rect">
                <a:avLst/>
              </a:prstGeom>
              <a:ln w="76200"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Crescente attenzione </a:t>
                </a:r>
                <a:r>
                  <a:rPr lang="it-IT" sz="2000" b="1" dirty="0">
                    <a:solidFill>
                      <a:srgbClr val="001E60"/>
                    </a:solidFill>
                    <a:latin typeface="Source Sans Pro (Corpo)"/>
                    <a:ea typeface="MS PGothic" pitchFamily="34" charset="-128"/>
                  </a:rPr>
                  <a:t>verso la g</a:t>
                </a:r>
                <a:r>
                  <a:rPr kumimoji="0" lang="it-IT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estione</a:t>
                </a: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 della risorsa idrica</a:t>
                </a:r>
                <a:endPara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22" name="Arc 8">
                <a:extLst>
                  <a:ext uri="{FF2B5EF4-FFF2-40B4-BE49-F238E27FC236}">
                    <a16:creationId xmlns:a16="http://schemas.microsoft.com/office/drawing/2014/main" id="{009A2154-43FA-BF04-F839-0B1FA9E51856}"/>
                  </a:ext>
                </a:extLst>
              </p:cNvPr>
              <p:cNvSpPr/>
              <p:nvPr/>
            </p:nvSpPr>
            <p:spPr>
              <a:xfrm>
                <a:off x="4501630" y="1095409"/>
                <a:ext cx="3164945" cy="2984790"/>
              </a:xfrm>
              <a:prstGeom prst="arc">
                <a:avLst>
                  <a:gd name="adj1" fmla="val 10766207"/>
                  <a:gd name="adj2" fmla="val 0"/>
                </a:avLst>
              </a:prstGeom>
              <a:noFill/>
              <a:ln w="76200" cap="rnd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2" name="Gruppo 1">
              <a:extLst>
                <a:ext uri="{FF2B5EF4-FFF2-40B4-BE49-F238E27FC236}">
                  <a16:creationId xmlns:a16="http://schemas.microsoft.com/office/drawing/2014/main" id="{496BAF0B-05AA-7ED5-D7FE-8A0200AAF846}"/>
                </a:ext>
              </a:extLst>
            </p:cNvPr>
            <p:cNvGrpSpPr/>
            <p:nvPr/>
          </p:nvGrpSpPr>
          <p:grpSpPr>
            <a:xfrm>
              <a:off x="7615923" y="981109"/>
              <a:ext cx="3175095" cy="2987911"/>
              <a:chOff x="7759339" y="1095409"/>
              <a:chExt cx="3175095" cy="2987911"/>
            </a:xfrm>
          </p:grpSpPr>
          <p:sp>
            <p:nvSpPr>
              <p:cNvPr id="27" name="Oval 7">
                <a:extLst>
                  <a:ext uri="{FF2B5EF4-FFF2-40B4-BE49-F238E27FC236}">
                    <a16:creationId xmlns:a16="http://schemas.microsoft.com/office/drawing/2014/main" id="{71E0DF09-71D5-7062-2D02-A848BE4715D5}"/>
                  </a:ext>
                </a:extLst>
              </p:cNvPr>
              <p:cNvSpPr/>
              <p:nvPr/>
            </p:nvSpPr>
            <p:spPr>
              <a:xfrm>
                <a:off x="7759339" y="1095409"/>
                <a:ext cx="3168254" cy="2987911"/>
              </a:xfrm>
              <a:prstGeom prst="ellipse">
                <a:avLst/>
              </a:prstGeom>
              <a:noFill/>
              <a:ln w="76200" cap="flat" cmpd="sng" algn="ctr">
                <a:solidFill>
                  <a:srgbClr val="B2B2B2">
                    <a:alpha val="3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29" name="Oval 20">
                <a:extLst>
                  <a:ext uri="{FF2B5EF4-FFF2-40B4-BE49-F238E27FC236}">
                    <a16:creationId xmlns:a16="http://schemas.microsoft.com/office/drawing/2014/main" id="{B46071C9-12CF-F44D-2CE0-75A55EC86D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1641" y="1217631"/>
                <a:ext cx="911345" cy="913263"/>
              </a:xfrm>
              <a:prstGeom prst="ellipse">
                <a:avLst/>
              </a:prstGeom>
              <a:solidFill>
                <a:srgbClr val="00235A"/>
              </a:solidFill>
              <a:ln w="7620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3</a:t>
                </a:r>
              </a:p>
            </p:txBody>
          </p:sp>
          <p:sp>
            <p:nvSpPr>
              <p:cNvPr id="30" name="Rectangle 36">
                <a:extLst>
                  <a:ext uri="{FF2B5EF4-FFF2-40B4-BE49-F238E27FC236}">
                    <a16:creationId xmlns:a16="http://schemas.microsoft.com/office/drawing/2014/main" id="{C7AD6BC9-832D-BEE3-5B8F-76AD0EA86E7B}"/>
                  </a:ext>
                </a:extLst>
              </p:cNvPr>
              <p:cNvSpPr/>
              <p:nvPr/>
            </p:nvSpPr>
            <p:spPr>
              <a:xfrm>
                <a:off x="7865539" y="2516797"/>
                <a:ext cx="2910603" cy="745143"/>
              </a:xfrm>
              <a:prstGeom prst="rect">
                <a:avLst/>
              </a:prstGeom>
              <a:ln w="76200"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Tutela della salute e della qualità della vita</a:t>
                </a:r>
                <a:endPara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33" name="Arc 8">
                <a:extLst>
                  <a:ext uri="{FF2B5EF4-FFF2-40B4-BE49-F238E27FC236}">
                    <a16:creationId xmlns:a16="http://schemas.microsoft.com/office/drawing/2014/main" id="{2C7937F9-FBD3-DD5B-E06B-5777E10DD81A}"/>
                  </a:ext>
                </a:extLst>
              </p:cNvPr>
              <p:cNvSpPr/>
              <p:nvPr/>
            </p:nvSpPr>
            <p:spPr>
              <a:xfrm flipV="1">
                <a:off x="7769490" y="1097132"/>
                <a:ext cx="3164944" cy="2984790"/>
              </a:xfrm>
              <a:prstGeom prst="arc">
                <a:avLst>
                  <a:gd name="adj1" fmla="val 9789909"/>
                  <a:gd name="adj2" fmla="val 0"/>
                </a:avLst>
              </a:prstGeom>
              <a:noFill/>
              <a:ln w="76200" cap="rnd" cmpd="sng" algn="ctr">
                <a:solidFill>
                  <a:srgbClr val="00235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8" name="Gruppo 7">
              <a:extLst>
                <a:ext uri="{FF2B5EF4-FFF2-40B4-BE49-F238E27FC236}">
                  <a16:creationId xmlns:a16="http://schemas.microsoft.com/office/drawing/2014/main" id="{F8338EE2-AA14-9E40-4E1A-226277E3BBFB}"/>
                </a:ext>
              </a:extLst>
            </p:cNvPr>
            <p:cNvGrpSpPr/>
            <p:nvPr/>
          </p:nvGrpSpPr>
          <p:grpSpPr>
            <a:xfrm>
              <a:off x="2301962" y="3650769"/>
              <a:ext cx="3182221" cy="3002259"/>
              <a:chOff x="3081679" y="3490749"/>
              <a:chExt cx="3182221" cy="3002259"/>
            </a:xfrm>
          </p:grpSpPr>
          <p:sp>
            <p:nvSpPr>
              <p:cNvPr id="28" name="Arc 8">
                <a:extLst>
                  <a:ext uri="{FF2B5EF4-FFF2-40B4-BE49-F238E27FC236}">
                    <a16:creationId xmlns:a16="http://schemas.microsoft.com/office/drawing/2014/main" id="{7876D176-B4F3-5231-F273-D07FC68F4579}"/>
                  </a:ext>
                </a:extLst>
              </p:cNvPr>
              <p:cNvSpPr/>
              <p:nvPr/>
            </p:nvSpPr>
            <p:spPr>
              <a:xfrm>
                <a:off x="3098955" y="3490749"/>
                <a:ext cx="3164945" cy="2984790"/>
              </a:xfrm>
              <a:prstGeom prst="arc">
                <a:avLst>
                  <a:gd name="adj1" fmla="val 10766207"/>
                  <a:gd name="adj2" fmla="val 0"/>
                </a:avLst>
              </a:prstGeom>
              <a:noFill/>
              <a:ln w="76200" cap="rnd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32" name="Oval 7">
                <a:extLst>
                  <a:ext uri="{FF2B5EF4-FFF2-40B4-BE49-F238E27FC236}">
                    <a16:creationId xmlns:a16="http://schemas.microsoft.com/office/drawing/2014/main" id="{6D5E1D4D-94A3-7805-DB4C-4D4D56D26958}"/>
                  </a:ext>
                </a:extLst>
              </p:cNvPr>
              <p:cNvSpPr/>
              <p:nvPr/>
            </p:nvSpPr>
            <p:spPr>
              <a:xfrm>
                <a:off x="3081679" y="3505097"/>
                <a:ext cx="3168254" cy="2987911"/>
              </a:xfrm>
              <a:prstGeom prst="ellipse">
                <a:avLst/>
              </a:prstGeom>
              <a:noFill/>
              <a:ln w="76200" cap="flat" cmpd="sng" algn="ctr">
                <a:solidFill>
                  <a:srgbClr val="B2B2B2">
                    <a:alpha val="3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34" name="Oval 20">
                <a:extLst>
                  <a:ext uri="{FF2B5EF4-FFF2-40B4-BE49-F238E27FC236}">
                    <a16:creationId xmlns:a16="http://schemas.microsoft.com/office/drawing/2014/main" id="{165A11DA-E324-0D5C-D7FD-5D8D422C2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8056" y="3564263"/>
                <a:ext cx="911345" cy="913263"/>
              </a:xfrm>
              <a:prstGeom prst="ellipse">
                <a:avLst/>
              </a:prstGeom>
              <a:solidFill>
                <a:srgbClr val="00B050"/>
              </a:solidFill>
              <a:ln w="7620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4</a:t>
                </a:r>
              </a:p>
            </p:txBody>
          </p:sp>
          <p:sp>
            <p:nvSpPr>
              <p:cNvPr id="35" name="Rectangle 36">
                <a:extLst>
                  <a:ext uri="{FF2B5EF4-FFF2-40B4-BE49-F238E27FC236}">
                    <a16:creationId xmlns:a16="http://schemas.microsoft.com/office/drawing/2014/main" id="{83CB2BFD-0471-74CB-B6F6-15826B313223}"/>
                  </a:ext>
                </a:extLst>
              </p:cNvPr>
              <p:cNvSpPr/>
              <p:nvPr/>
            </p:nvSpPr>
            <p:spPr>
              <a:xfrm>
                <a:off x="3148537" y="4596855"/>
                <a:ext cx="2974396" cy="1069119"/>
              </a:xfrm>
              <a:prstGeom prst="rect">
                <a:avLst/>
              </a:prstGeom>
              <a:ln w="76200"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Cambiamento del mondo del lavoro e </a:t>
                </a:r>
                <a:b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</a:b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la fabbrica</a:t>
                </a:r>
                <a:endPara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6" name="Gruppo 5">
              <a:extLst>
                <a:ext uri="{FF2B5EF4-FFF2-40B4-BE49-F238E27FC236}">
                  <a16:creationId xmlns:a16="http://schemas.microsoft.com/office/drawing/2014/main" id="{C6D738BA-AE92-D75A-559D-2157AB5D79D4}"/>
                </a:ext>
              </a:extLst>
            </p:cNvPr>
            <p:cNvGrpSpPr/>
            <p:nvPr/>
          </p:nvGrpSpPr>
          <p:grpSpPr>
            <a:xfrm>
              <a:off x="5885551" y="3650769"/>
              <a:ext cx="3173879" cy="2987910"/>
              <a:chOff x="5933176" y="3520897"/>
              <a:chExt cx="3173879" cy="2987910"/>
            </a:xfrm>
          </p:grpSpPr>
          <p:sp>
            <p:nvSpPr>
              <p:cNvPr id="7" name="Oval 7">
                <a:extLst>
                  <a:ext uri="{FF2B5EF4-FFF2-40B4-BE49-F238E27FC236}">
                    <a16:creationId xmlns:a16="http://schemas.microsoft.com/office/drawing/2014/main" id="{EAC833DD-4A8D-729B-AE32-727EF10767FB}"/>
                  </a:ext>
                </a:extLst>
              </p:cNvPr>
              <p:cNvSpPr/>
              <p:nvPr/>
            </p:nvSpPr>
            <p:spPr>
              <a:xfrm>
                <a:off x="5933176" y="3520897"/>
                <a:ext cx="3168254" cy="298791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B2B2B2">
                    <a:alpha val="3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" name="Oval 19">
                <a:extLst>
                  <a:ext uri="{FF2B5EF4-FFF2-40B4-BE49-F238E27FC236}">
                    <a16:creationId xmlns:a16="http://schemas.microsoft.com/office/drawing/2014/main" id="{4B167D36-0ECD-96D3-64A2-C5190667D0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2435" y="3589665"/>
                <a:ext cx="911345" cy="913263"/>
              </a:xfrm>
              <a:prstGeom prst="ellipse">
                <a:avLst/>
              </a:prstGeom>
              <a:solidFill>
                <a:srgbClr val="C00000"/>
              </a:solidFill>
              <a:ln w="7620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5</a:t>
                </a:r>
              </a:p>
            </p:txBody>
          </p:sp>
          <p:sp>
            <p:nvSpPr>
              <p:cNvPr id="11" name="Rectangle 35">
                <a:extLst>
                  <a:ext uri="{FF2B5EF4-FFF2-40B4-BE49-F238E27FC236}">
                    <a16:creationId xmlns:a16="http://schemas.microsoft.com/office/drawing/2014/main" id="{02B683F6-A7B7-9F4E-D476-500765BE9E21}"/>
                  </a:ext>
                </a:extLst>
              </p:cNvPr>
              <p:cNvSpPr/>
              <p:nvPr/>
            </p:nvSpPr>
            <p:spPr>
              <a:xfrm>
                <a:off x="6196097" y="4639913"/>
                <a:ext cx="2656972" cy="1717069"/>
              </a:xfrm>
              <a:prstGeom prst="rect">
                <a:avLst/>
              </a:prstGeom>
              <a:ln w="76200">
                <a:noFill/>
              </a:ln>
            </p:spPr>
            <p:txBody>
              <a:bodyPr wrap="square" anchor="ctr">
                <a:spAutoFit/>
              </a:bodyPr>
              <a:lstStyle/>
              <a:p>
                <a:pPr algn="ctr" defTabSz="1219170">
                  <a:spcAft>
                    <a:spcPts val="600"/>
                  </a:spcAft>
                  <a:defRPr/>
                </a:pPr>
                <a:r>
                  <a:rPr kumimoji="0" lang="it-IT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Ripensamento delle modalità di offerta e fruizione della cultura e della formazione</a:t>
                </a: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3" name="Arc 8">
                <a:extLst>
                  <a:ext uri="{FF2B5EF4-FFF2-40B4-BE49-F238E27FC236}">
                    <a16:creationId xmlns:a16="http://schemas.microsoft.com/office/drawing/2014/main" id="{1E05D269-E2A2-550C-D994-08869A28A56C}"/>
                  </a:ext>
                </a:extLst>
              </p:cNvPr>
              <p:cNvSpPr/>
              <p:nvPr/>
            </p:nvSpPr>
            <p:spPr>
              <a:xfrm flipV="1">
                <a:off x="5942111" y="3523302"/>
                <a:ext cx="3164944" cy="2984790"/>
              </a:xfrm>
              <a:prstGeom prst="arc">
                <a:avLst>
                  <a:gd name="adj1" fmla="val 10766207"/>
                  <a:gd name="adj2" fmla="val 0"/>
                </a:avLst>
              </a:prstGeom>
              <a:noFill/>
              <a:ln w="76200" cap="rnd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0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Source Sans Pro (Corpo)"/>
                  <a:ea typeface="MS PGothic" pitchFamily="34" charset="-128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9998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contenuto 1">
            <a:extLst>
              <a:ext uri="{FF2B5EF4-FFF2-40B4-BE49-F238E27FC236}">
                <a16:creationId xmlns:a16="http://schemas.microsoft.com/office/drawing/2014/main" id="{7A3B1596-A112-5D8B-085F-BF15F63AF85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44642"/>
            <a:ext cx="11376025" cy="872066"/>
          </a:xfrm>
        </p:spPr>
        <p:txBody>
          <a:bodyPr anchor="ctr"/>
          <a:lstStyle/>
          <a:p>
            <a:r>
              <a:rPr lang="it-IT" dirty="0">
                <a:solidFill>
                  <a:srgbClr val="C00000"/>
                </a:solidFill>
              </a:rPr>
              <a:t>IL PUNTO DI PARTENZA: </a:t>
            </a:r>
            <a:r>
              <a:rPr lang="it-IT" dirty="0"/>
              <a:t>negli ultimi 50 anni, il tasso di mortalità e di natalità in Italia si sono invertiti (e il divario andrà aumentando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828E157A-0EAE-AECB-C9A0-1B7EA8344A03}"/>
              </a:ext>
            </a:extLst>
          </p:cNvPr>
          <p:cNvSpPr txBox="1"/>
          <p:nvPr/>
        </p:nvSpPr>
        <p:spPr>
          <a:xfrm>
            <a:off x="1540792" y="1093283"/>
            <a:ext cx="9278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C2950"/>
                </a:solidFill>
                <a:effectLst/>
                <a:uLnTx/>
                <a:uFillTx/>
                <a:latin typeface="Source Sans Pro"/>
                <a:ea typeface="+mn-ea"/>
                <a:cs typeface="Arial" panose="020B0604020202020204" pitchFamily="34" charset="0"/>
              </a:rPr>
              <a:t>Andamento del tasso di natalità e mortalità in Itali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C2950"/>
                </a:solidFill>
                <a:effectLst/>
                <a:uLnTx/>
                <a:uFillTx/>
                <a:latin typeface="Source Sans Pro"/>
                <a:ea typeface="+mn-ea"/>
                <a:cs typeface="Arial" panose="020B0604020202020204" pitchFamily="34" charset="0"/>
              </a:rPr>
              <a:t>(per 1.000 abitanti), 1973-2050</a:t>
            </a:r>
            <a:r>
              <a:rPr kumimoji="0" lang="it-IT" sz="1800" b="0" i="0" u="none" strike="noStrike" kern="0" cap="none" spc="0" normalizeH="0" baseline="30000" noProof="0" dirty="0">
                <a:ln>
                  <a:noFill/>
                </a:ln>
                <a:solidFill>
                  <a:srgbClr val="0C2950"/>
                </a:solidFill>
                <a:effectLst/>
                <a:uLnTx/>
                <a:uFillTx/>
                <a:latin typeface="Source Sans Pro"/>
                <a:ea typeface="+mn-ea"/>
                <a:cs typeface="Arial" panose="020B0604020202020204" pitchFamily="34" charset="0"/>
              </a:rPr>
              <a:t>e</a:t>
            </a:r>
            <a:endParaRPr kumimoji="0" lang="en-GB" sz="1800" b="0" i="0" u="none" strike="noStrike" kern="0" cap="none" spc="0" normalizeH="0" baseline="30000" noProof="0" dirty="0">
              <a:ln>
                <a:noFill/>
              </a:ln>
              <a:solidFill>
                <a:srgbClr val="0C2950"/>
              </a:solidFill>
              <a:effectLst/>
              <a:uLnTx/>
              <a:uFillTx/>
              <a:latin typeface="Source Sans Pro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CB266595-7660-3259-C9A5-4694BFFC6208}"/>
              </a:ext>
            </a:extLst>
          </p:cNvPr>
          <p:cNvGrpSpPr/>
          <p:nvPr/>
        </p:nvGrpSpPr>
        <p:grpSpPr>
          <a:xfrm>
            <a:off x="348343" y="1739614"/>
            <a:ext cx="13803087" cy="4368334"/>
            <a:chOff x="320026" y="2021744"/>
            <a:chExt cx="6961233" cy="4253762"/>
          </a:xfrm>
        </p:grpSpPr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1A8C6BA5-00C4-753C-5F8F-C0F96852DC6A}"/>
                </a:ext>
              </a:extLst>
            </p:cNvPr>
            <p:cNvSpPr/>
            <p:nvPr/>
          </p:nvSpPr>
          <p:spPr>
            <a:xfrm>
              <a:off x="4084320" y="2118569"/>
              <a:ext cx="1998933" cy="3564169"/>
            </a:xfrm>
            <a:prstGeom prst="rect">
              <a:avLst/>
            </a:prstGeom>
            <a:pattFill prst="dkDn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3AC32B1A-964E-3F49-AFEF-6990587A3D6E}"/>
                </a:ext>
              </a:extLst>
            </p:cNvPr>
            <p:cNvGrpSpPr/>
            <p:nvPr/>
          </p:nvGrpSpPr>
          <p:grpSpPr>
            <a:xfrm>
              <a:off x="320026" y="2021744"/>
              <a:ext cx="6961233" cy="4253762"/>
              <a:chOff x="118931" y="2255874"/>
              <a:chExt cx="5492326" cy="4392312"/>
            </a:xfrm>
          </p:grpSpPr>
          <p:graphicFrame>
            <p:nvGraphicFramePr>
              <p:cNvPr id="18" name="Grafico 17">
                <a:extLst>
                  <a:ext uri="{FF2B5EF4-FFF2-40B4-BE49-F238E27FC236}">
                    <a16:creationId xmlns:a16="http://schemas.microsoft.com/office/drawing/2014/main" id="{00436533-A88B-FB77-F346-F01E316000B2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118931" y="2255874"/>
              <a:ext cx="4493612" cy="43923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FC9661FA-F0CD-2C8C-B264-22766069DD14}"/>
                  </a:ext>
                </a:extLst>
              </p:cNvPr>
              <p:cNvSpPr txBox="1"/>
              <p:nvPr/>
            </p:nvSpPr>
            <p:spPr>
              <a:xfrm>
                <a:off x="2520048" y="2639541"/>
                <a:ext cx="3091209" cy="603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ource Sans Pro"/>
                    <a:ea typeface="+mn-ea"/>
                    <a:cs typeface="+mn-cs"/>
                  </a:rPr>
                  <a:t>Tasso di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ource Sans Pro"/>
                    <a:ea typeface="+mn-ea"/>
                    <a:cs typeface="+mn-cs"/>
                  </a:rPr>
                  <a:t>mortalità</a:t>
                </a:r>
              </a:p>
            </p:txBody>
          </p:sp>
          <p:sp>
            <p:nvSpPr>
              <p:cNvPr id="20" name="CasellaDiTesto 19">
                <a:extLst>
                  <a:ext uri="{FF2B5EF4-FFF2-40B4-BE49-F238E27FC236}">
                    <a16:creationId xmlns:a16="http://schemas.microsoft.com/office/drawing/2014/main" id="{12970776-C7B1-7C00-E98E-E0784F31BFF0}"/>
                  </a:ext>
                </a:extLst>
              </p:cNvPr>
              <p:cNvSpPr txBox="1"/>
              <p:nvPr/>
            </p:nvSpPr>
            <p:spPr>
              <a:xfrm>
                <a:off x="2779597" y="4905712"/>
                <a:ext cx="2053994" cy="603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C2950"/>
                    </a:solidFill>
                    <a:effectLst/>
                    <a:uLnTx/>
                    <a:uFillTx/>
                    <a:latin typeface="Source Sans Pro"/>
                    <a:ea typeface="+mn-ea"/>
                    <a:cs typeface="+mn-cs"/>
                  </a:rPr>
                  <a:t>Tasso di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C2950"/>
                    </a:solidFill>
                    <a:effectLst/>
                    <a:uLnTx/>
                    <a:uFillTx/>
                    <a:latin typeface="Source Sans Pro"/>
                    <a:ea typeface="+mn-ea"/>
                    <a:cs typeface="+mn-cs"/>
                  </a:rPr>
                  <a:t>natalità</a:t>
                </a:r>
              </a:p>
            </p:txBody>
          </p:sp>
        </p:grpSp>
      </p:grpSp>
      <p:sp>
        <p:nvSpPr>
          <p:cNvPr id="21" name="Rettangolo 20">
            <a:extLst>
              <a:ext uri="{FF2B5EF4-FFF2-40B4-BE49-F238E27FC236}">
                <a16:creationId xmlns:a16="http://schemas.microsoft.com/office/drawing/2014/main" id="{649A76C6-3DAF-3D1F-2B19-8D6BD0E4CD9E}"/>
              </a:ext>
            </a:extLst>
          </p:cNvPr>
          <p:cNvSpPr/>
          <p:nvPr/>
        </p:nvSpPr>
        <p:spPr>
          <a:xfrm>
            <a:off x="1611641" y="6485048"/>
            <a:ext cx="71835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Fonte: elaborazione TEHA Group su dati Istat, 2025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EE127C40-EC23-2182-47B4-027640652E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6573" y="746335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66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4013B3-D951-0AD2-4186-926BFCBB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>
            <a:extLst>
              <a:ext uri="{FF2B5EF4-FFF2-40B4-BE49-F238E27FC236}">
                <a16:creationId xmlns:a16="http://schemas.microsoft.com/office/drawing/2014/main" id="{280340FB-BE8E-2618-F509-8FCBA5385F82}"/>
              </a:ext>
            </a:extLst>
          </p:cNvPr>
          <p:cNvSpPr/>
          <p:nvPr/>
        </p:nvSpPr>
        <p:spPr>
          <a:xfrm>
            <a:off x="11312161" y="4204100"/>
            <a:ext cx="476516" cy="2828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E43F68D3-559E-C131-8633-701C88BA9A8A}"/>
              </a:ext>
            </a:extLst>
          </p:cNvPr>
          <p:cNvCxnSpPr>
            <a:cxnSpLocks/>
          </p:cNvCxnSpPr>
          <p:nvPr/>
        </p:nvCxnSpPr>
        <p:spPr>
          <a:xfrm flipV="1">
            <a:off x="7572441" y="3187477"/>
            <a:ext cx="0" cy="241200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DE4ACB5C-5A5D-C63B-61E7-3CACD553DED3}"/>
              </a:ext>
            </a:extLst>
          </p:cNvPr>
          <p:cNvGrpSpPr/>
          <p:nvPr/>
        </p:nvGrpSpPr>
        <p:grpSpPr>
          <a:xfrm>
            <a:off x="385590" y="1443705"/>
            <a:ext cx="11403095" cy="4661478"/>
            <a:chOff x="385590" y="1013798"/>
            <a:chExt cx="11403095" cy="5079027"/>
          </a:xfrm>
        </p:grpSpPr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675D96BB-0DA7-6B9D-E8D5-F02AE88FE1C8}"/>
                </a:ext>
              </a:extLst>
            </p:cNvPr>
            <p:cNvSpPr/>
            <p:nvPr/>
          </p:nvSpPr>
          <p:spPr>
            <a:xfrm>
              <a:off x="11312161" y="4006392"/>
              <a:ext cx="476516" cy="2828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graphicFrame>
          <p:nvGraphicFramePr>
            <p:cNvPr id="24" name="Grafico 23">
              <a:extLst>
                <a:ext uri="{FF2B5EF4-FFF2-40B4-BE49-F238E27FC236}">
                  <a16:creationId xmlns:a16="http://schemas.microsoft.com/office/drawing/2014/main" id="{B5FC7075-D095-9169-3520-305AD7825E6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09294245"/>
                </p:ext>
              </p:extLst>
            </p:nvPr>
          </p:nvGraphicFramePr>
          <p:xfrm>
            <a:off x="385590" y="1013798"/>
            <a:ext cx="11403095" cy="50790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25" name="Connettore diritto 24">
              <a:extLst>
                <a:ext uri="{FF2B5EF4-FFF2-40B4-BE49-F238E27FC236}">
                  <a16:creationId xmlns:a16="http://schemas.microsoft.com/office/drawing/2014/main" id="{77814511-1F35-D50F-96F0-E47707D22D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055" y="2203335"/>
              <a:ext cx="0" cy="3294873"/>
            </a:xfrm>
            <a:prstGeom prst="line">
              <a:avLst/>
            </a:prstGeom>
            <a:ln>
              <a:solidFill>
                <a:srgbClr val="F47B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ttore 2 25">
              <a:extLst>
                <a:ext uri="{FF2B5EF4-FFF2-40B4-BE49-F238E27FC236}">
                  <a16:creationId xmlns:a16="http://schemas.microsoft.com/office/drawing/2014/main" id="{02FCA302-1903-ADFC-E599-AB64F95CAE7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65513" y="2189871"/>
              <a:ext cx="970051" cy="832888"/>
            </a:xfrm>
            <a:prstGeom prst="straightConnector1">
              <a:avLst/>
            </a:prstGeom>
            <a:solidFill>
              <a:srgbClr val="FF9900"/>
            </a:solidFill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9" name="Ovale 28">
              <a:extLst>
                <a:ext uri="{FF2B5EF4-FFF2-40B4-BE49-F238E27FC236}">
                  <a16:creationId xmlns:a16="http://schemas.microsoft.com/office/drawing/2014/main" id="{398283DE-D194-14FD-F93F-4C2059BB0A4E}"/>
                </a:ext>
              </a:extLst>
            </p:cNvPr>
            <p:cNvSpPr/>
            <p:nvPr/>
          </p:nvSpPr>
          <p:spPr bwMode="auto">
            <a:xfrm>
              <a:off x="2471671" y="2299341"/>
              <a:ext cx="1586093" cy="642634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-2,2%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2015-2024</a:t>
              </a:r>
            </a:p>
          </p:txBody>
        </p:sp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4BF0157E-20BA-4889-9648-F5A1FE18A115}"/>
              </a:ext>
            </a:extLst>
          </p:cNvPr>
          <p:cNvGrpSpPr/>
          <p:nvPr/>
        </p:nvGrpSpPr>
        <p:grpSpPr>
          <a:xfrm>
            <a:off x="929415" y="4582447"/>
            <a:ext cx="2358641" cy="888284"/>
            <a:chOff x="1312580" y="4456758"/>
            <a:chExt cx="2358641" cy="888284"/>
          </a:xfrm>
        </p:grpSpPr>
        <p:cxnSp>
          <p:nvCxnSpPr>
            <p:cNvPr id="33" name="Connettore diritto 32">
              <a:extLst>
                <a:ext uri="{FF2B5EF4-FFF2-40B4-BE49-F238E27FC236}">
                  <a16:creationId xmlns:a16="http://schemas.microsoft.com/office/drawing/2014/main" id="{9EFE939D-3FE9-6E89-2D0E-526D495A20B7}"/>
                </a:ext>
              </a:extLst>
            </p:cNvPr>
            <p:cNvCxnSpPr>
              <a:cxnSpLocks/>
            </p:cNvCxnSpPr>
            <p:nvPr/>
          </p:nvCxnSpPr>
          <p:spPr>
            <a:xfrm>
              <a:off x="1312581" y="4641424"/>
              <a:ext cx="250372" cy="0"/>
            </a:xfrm>
            <a:prstGeom prst="line">
              <a:avLst/>
            </a:prstGeom>
            <a:ln w="28575">
              <a:solidFill>
                <a:srgbClr val="001E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CasellaDiTesto 33">
              <a:extLst>
                <a:ext uri="{FF2B5EF4-FFF2-40B4-BE49-F238E27FC236}">
                  <a16:creationId xmlns:a16="http://schemas.microsoft.com/office/drawing/2014/main" id="{61C17735-FA7A-F9E4-E262-0B5ACD860B64}"/>
                </a:ext>
              </a:extLst>
            </p:cNvPr>
            <p:cNvSpPr txBox="1"/>
            <p:nvPr/>
          </p:nvSpPr>
          <p:spPr>
            <a:xfrm>
              <a:off x="1562952" y="4456758"/>
              <a:ext cx="2095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800">
                  <a:solidFill>
                    <a:srgbClr val="001E60"/>
                  </a:solidFill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Scenario favorevole</a:t>
              </a:r>
            </a:p>
          </p:txBody>
        </p:sp>
        <p:cxnSp>
          <p:nvCxnSpPr>
            <p:cNvPr id="35" name="Connettore diritto 34">
              <a:extLst>
                <a:ext uri="{FF2B5EF4-FFF2-40B4-BE49-F238E27FC236}">
                  <a16:creationId xmlns:a16="http://schemas.microsoft.com/office/drawing/2014/main" id="{ABC2487F-B5B3-3DAF-AA53-A10AADFE823F}"/>
                </a:ext>
              </a:extLst>
            </p:cNvPr>
            <p:cNvCxnSpPr>
              <a:cxnSpLocks/>
            </p:cNvCxnSpPr>
            <p:nvPr/>
          </p:nvCxnSpPr>
          <p:spPr>
            <a:xfrm>
              <a:off x="1312580" y="4906175"/>
              <a:ext cx="250372" cy="0"/>
            </a:xfrm>
            <a:prstGeom prst="line">
              <a:avLst/>
            </a:prstGeom>
            <a:ln w="28575">
              <a:solidFill>
                <a:srgbClr val="F47B2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CasellaDiTesto 35">
              <a:extLst>
                <a:ext uri="{FF2B5EF4-FFF2-40B4-BE49-F238E27FC236}">
                  <a16:creationId xmlns:a16="http://schemas.microsoft.com/office/drawing/2014/main" id="{2F01D3F5-90F0-D70D-C3CD-0A38B14D46B1}"/>
                </a:ext>
              </a:extLst>
            </p:cNvPr>
            <p:cNvSpPr txBox="1"/>
            <p:nvPr/>
          </p:nvSpPr>
          <p:spPr>
            <a:xfrm>
              <a:off x="1562952" y="4721509"/>
              <a:ext cx="19367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800">
                  <a:solidFill>
                    <a:srgbClr val="001E60"/>
                  </a:solidFill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Scenario mediano</a:t>
              </a:r>
            </a:p>
          </p:txBody>
        </p:sp>
        <p:cxnSp>
          <p:nvCxnSpPr>
            <p:cNvPr id="37" name="Connettore diritto 36">
              <a:extLst>
                <a:ext uri="{FF2B5EF4-FFF2-40B4-BE49-F238E27FC236}">
                  <a16:creationId xmlns:a16="http://schemas.microsoft.com/office/drawing/2014/main" id="{9FFD0A7E-DB73-AF8B-5B32-B6D6FCF40B49}"/>
                </a:ext>
              </a:extLst>
            </p:cNvPr>
            <p:cNvCxnSpPr>
              <a:cxnSpLocks/>
            </p:cNvCxnSpPr>
            <p:nvPr/>
          </p:nvCxnSpPr>
          <p:spPr>
            <a:xfrm>
              <a:off x="1323752" y="5160376"/>
              <a:ext cx="250372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CasellaDiTesto 37">
              <a:extLst>
                <a:ext uri="{FF2B5EF4-FFF2-40B4-BE49-F238E27FC236}">
                  <a16:creationId xmlns:a16="http://schemas.microsoft.com/office/drawing/2014/main" id="{DE71A67E-2756-6EC3-45DC-C536B82D14FB}"/>
                </a:ext>
              </a:extLst>
            </p:cNvPr>
            <p:cNvSpPr txBox="1"/>
            <p:nvPr/>
          </p:nvSpPr>
          <p:spPr>
            <a:xfrm>
              <a:off x="1562952" y="4975710"/>
              <a:ext cx="21082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800" dirty="0">
                  <a:solidFill>
                    <a:srgbClr val="001E60"/>
                  </a:solidFill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Scenario pessimista</a:t>
              </a:r>
            </a:p>
          </p:txBody>
        </p:sp>
      </p:grp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8983207-5545-EF09-4BD8-FB3C4D3714A2}"/>
              </a:ext>
            </a:extLst>
          </p:cNvPr>
          <p:cNvSpPr txBox="1"/>
          <p:nvPr/>
        </p:nvSpPr>
        <p:spPr>
          <a:xfrm>
            <a:off x="2952204" y="1082378"/>
            <a:ext cx="635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Andamento atteso della popolazione in Italia</a:t>
            </a:r>
            <a:b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(valori in migliaia di abitanti),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2000-2080</a:t>
            </a:r>
            <a:r>
              <a:rPr kumimoji="0" lang="it-IT" sz="1800" b="0" i="0" u="none" strike="noStrike" kern="1200" cap="none" spc="0" normalizeH="0" baseline="3000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9ED1C45-7809-E70A-2309-E9CA89EFBA4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5590" y="0"/>
            <a:ext cx="11451506" cy="918324"/>
          </a:xfrm>
        </p:spPr>
        <p:txBody>
          <a:bodyPr>
            <a:normAutofit lnSpcReduction="10000"/>
          </a:bodyPr>
          <a:lstStyle/>
          <a:p>
            <a:pPr marL="0" indent="0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it-IT" dirty="0"/>
              <a:t>Secondo le stime più pessimiste, la popolazione in Italia diminuirà </a:t>
            </a:r>
            <a:r>
              <a:rPr lang="it-IT" sz="2800" dirty="0">
                <a:solidFill>
                  <a:srgbClr val="F47B20"/>
                </a:solidFill>
                <a:latin typeface="Source Sans Pro SemiBold" panose="020B0603030403020204" pitchFamily="34" charset="0"/>
              </a:rPr>
              <a:t>di </a:t>
            </a:r>
            <a:r>
              <a:rPr lang="it-IT" dirty="0"/>
              <a:t>6,3</a:t>
            </a:r>
            <a:r>
              <a:rPr lang="it-IT" sz="2800" dirty="0">
                <a:solidFill>
                  <a:srgbClr val="F47B20"/>
                </a:solidFill>
                <a:latin typeface="Source Sans Pro SemiBold" panose="020B0603030403020204" pitchFamily="34" charset="0"/>
              </a:rPr>
              <a:t> milioni di abitanti entro il 2050 e di 19,7 milioni entro il 2080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5D2C342C-2C2F-D581-8FCA-A50E8F3E1589}"/>
              </a:ext>
            </a:extLst>
          </p:cNvPr>
          <p:cNvSpPr/>
          <p:nvPr/>
        </p:nvSpPr>
        <p:spPr>
          <a:xfrm>
            <a:off x="4301574" y="4292745"/>
            <a:ext cx="4397579" cy="9158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Nell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cenario pessimist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50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b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i sarebbero solo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52,7 milion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Italiani</a:t>
            </a:r>
            <a:r>
              <a:rPr lang="it-IT" sz="1600" dirty="0">
                <a:solidFill>
                  <a:srgbClr val="001E60"/>
                </a:solidFill>
                <a:latin typeface="Source Sans Pro"/>
              </a:rPr>
              <a:t> </a:t>
            </a:r>
            <a:br>
              <a:rPr lang="it-IT" sz="1600" dirty="0">
                <a:solidFill>
                  <a:srgbClr val="001E60"/>
                </a:solidFill>
                <a:latin typeface="Source Sans Pro"/>
              </a:rPr>
            </a:br>
            <a:r>
              <a:rPr lang="it-IT" sz="1600" dirty="0">
                <a:solidFill>
                  <a:srgbClr val="001E60"/>
                </a:solidFill>
                <a:latin typeface="Source Sans Pro"/>
              </a:rPr>
              <a:t>(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1</a:t>
            </a:r>
            <a:r>
              <a:rPr lang="it-IT" b="1" dirty="0">
                <a:solidFill>
                  <a:srgbClr val="C00000"/>
                </a:solidFill>
                <a:latin typeface="Source Sans Pro"/>
              </a:rPr>
              <a:t>0,7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%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rispetto ad oggi) e </a:t>
            </a:r>
            <a:r>
              <a:rPr lang="it-IT" b="1" dirty="0">
                <a:solidFill>
                  <a:srgbClr val="C00000"/>
                </a:solidFill>
                <a:latin typeface="Source Sans Pro"/>
              </a:rPr>
              <a:t>19,7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l 2080 (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33%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)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A4E7F0F8-716F-3F01-71C7-065AA536B061}"/>
              </a:ext>
            </a:extLst>
          </p:cNvPr>
          <p:cNvSpPr/>
          <p:nvPr/>
        </p:nvSpPr>
        <p:spPr>
          <a:xfrm>
            <a:off x="8516458" y="1181214"/>
            <a:ext cx="3272228" cy="14807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o scenari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median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riporta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54,8 mln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italiani 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50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e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46,1 mln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di italiani 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80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: circa 1 mln di person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men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rispetto ai livelli de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1952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(47,6 mln di abitanti)</a:t>
            </a:r>
          </a:p>
        </p:txBody>
      </p:sp>
      <p:cxnSp>
        <p:nvCxnSpPr>
          <p:cNvPr id="30" name="Connettore a gomito 29">
            <a:extLst>
              <a:ext uri="{FF2B5EF4-FFF2-40B4-BE49-F238E27FC236}">
                <a16:creationId xmlns:a16="http://schemas.microsoft.com/office/drawing/2014/main" id="{04FCE806-84B5-8FA3-1847-ABB2991FBBA3}"/>
              </a:ext>
            </a:extLst>
          </p:cNvPr>
          <p:cNvCxnSpPr>
            <a:cxnSpLocks/>
            <a:stCxn id="28" idx="3"/>
            <a:endCxn id="27" idx="3"/>
          </p:cNvCxnSpPr>
          <p:nvPr/>
        </p:nvCxnSpPr>
        <p:spPr>
          <a:xfrm flipV="1">
            <a:off x="11788677" y="1921614"/>
            <a:ext cx="9" cy="2423888"/>
          </a:xfrm>
          <a:prstGeom prst="bentConnector3">
            <a:avLst>
              <a:gd name="adj1" fmla="val 2540100000"/>
            </a:avLst>
          </a:prstGeom>
          <a:ln>
            <a:solidFill>
              <a:srgbClr val="F47B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gnaposto testo 3">
            <a:extLst>
              <a:ext uri="{FF2B5EF4-FFF2-40B4-BE49-F238E27FC236}">
                <a16:creationId xmlns:a16="http://schemas.microsoft.com/office/drawing/2014/main" id="{01C7582D-DC0D-E80B-2EC8-5A2D3CCA1AD0}"/>
              </a:ext>
            </a:extLst>
          </p:cNvPr>
          <p:cNvSpPr txBox="1">
            <a:spLocks/>
          </p:cNvSpPr>
          <p:nvPr/>
        </p:nvSpPr>
        <p:spPr>
          <a:xfrm>
            <a:off x="1608765" y="6332754"/>
            <a:ext cx="8488362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fontAlgn="auto">
              <a:spcBef>
                <a:spcPts val="600"/>
              </a:spcBef>
              <a:spcAft>
                <a:spcPts val="0"/>
              </a:spcAft>
              <a:defRPr kumimoji="0" sz="12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Nota: limite inferiore al 90% e limite superiore al 90%.</a:t>
            </a:r>
            <a:b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Ista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, 2025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5E8A8D15-3BDC-61A9-364A-9EE361F047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6573" y="746335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015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434B1-CA53-1DBD-F304-AF40D651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1E879A1-E220-4E04-0500-D54857520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06099"/>
            <a:ext cx="11380700" cy="553199"/>
          </a:xfrm>
        </p:spPr>
        <p:txBody>
          <a:bodyPr/>
          <a:lstStyle/>
          <a:p>
            <a:r>
              <a:rPr lang="it-IT" dirty="0"/>
              <a:t>Anche la Toscana non sarà immune a questo processo di decrescita della popolazione e alle conseguenze dell’“inverno demografico”…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3833F0D-3A4E-5799-8896-89CCC5BC1F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1808" y="6350686"/>
            <a:ext cx="8488362" cy="454301"/>
          </a:xfrm>
        </p:spPr>
        <p:txBody>
          <a:bodyPr/>
          <a:lstStyle/>
          <a:p>
            <a:r>
              <a:rPr lang="it-IT" dirty="0"/>
              <a:t>Nota: limite inferiore al 90% e limite superiore al 90%.</a:t>
            </a:r>
            <a:br>
              <a:rPr lang="it-IT" dirty="0"/>
            </a:br>
            <a:r>
              <a:rPr lang="it-IT" dirty="0"/>
              <a:t>Fonte: elaborazione TEHA Group su dati </a:t>
            </a:r>
            <a:r>
              <a:rPr lang="en-US" dirty="0" err="1"/>
              <a:t>Istat</a:t>
            </a:r>
            <a:r>
              <a:rPr lang="en-US" dirty="0"/>
              <a:t>, 2025</a:t>
            </a:r>
            <a:endParaRPr lang="it-IT" dirty="0"/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783352D9-29D3-3237-AA6A-BC9663932CC7}"/>
              </a:ext>
            </a:extLst>
          </p:cNvPr>
          <p:cNvGraphicFramePr>
            <a:graphicFrameLocks/>
          </p:cNvGraphicFramePr>
          <p:nvPr/>
        </p:nvGraphicFramePr>
        <p:xfrm>
          <a:off x="97970" y="1936892"/>
          <a:ext cx="11865430" cy="4386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0D0FFD11-5D29-3A1A-18D8-EB6CF11B774B}"/>
              </a:ext>
            </a:extLst>
          </p:cNvPr>
          <p:cNvSpPr txBox="1"/>
          <p:nvPr/>
        </p:nvSpPr>
        <p:spPr>
          <a:xfrm>
            <a:off x="2984861" y="1078508"/>
            <a:ext cx="635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Andamento atteso della popolazione in </a:t>
            </a:r>
            <a:r>
              <a:rPr lang="it-IT" b="1" dirty="0">
                <a:solidFill>
                  <a:srgbClr val="001E60"/>
                </a:solidFill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Toscana</a:t>
            </a:r>
            <a:b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(valori in migliaia di abitanti),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2023-2080</a:t>
            </a:r>
            <a:r>
              <a:rPr kumimoji="0" lang="it-IT" b="0" i="0" u="none" strike="noStrike" kern="1200" cap="none" spc="0" normalizeH="0" baseline="3000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endParaRPr kumimoji="0" lang="it-IT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63DE324-3A47-95D8-759D-AB049F546481}"/>
              </a:ext>
            </a:extLst>
          </p:cNvPr>
          <p:cNvSpPr txBox="1"/>
          <p:nvPr/>
        </p:nvSpPr>
        <p:spPr>
          <a:xfrm>
            <a:off x="10633374" y="4865126"/>
            <a:ext cx="14369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C00000"/>
                </a:solidFill>
              </a:rPr>
              <a:t>2,6 milioni 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653BB83-BA1F-F212-AE9C-BB7D60288FB6}"/>
              </a:ext>
            </a:extLst>
          </p:cNvPr>
          <p:cNvSpPr txBox="1"/>
          <p:nvPr/>
        </p:nvSpPr>
        <p:spPr>
          <a:xfrm>
            <a:off x="10633373" y="2706909"/>
            <a:ext cx="14369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001E60"/>
                </a:solidFill>
              </a:rPr>
              <a:t>3,5 milioni 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8F6488F-619C-B81C-FEBF-ADBF5B8A2B34}"/>
              </a:ext>
            </a:extLst>
          </p:cNvPr>
          <p:cNvSpPr txBox="1"/>
          <p:nvPr/>
        </p:nvSpPr>
        <p:spPr>
          <a:xfrm>
            <a:off x="10633374" y="3724825"/>
            <a:ext cx="14369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F47B20"/>
                </a:solidFill>
              </a:rPr>
              <a:t>3,0 milioni </a:t>
            </a:r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54AD305E-C14D-3D0B-5E4B-97F87BC5B79B}"/>
              </a:ext>
            </a:extLst>
          </p:cNvPr>
          <p:cNvCxnSpPr>
            <a:cxnSpLocks/>
          </p:cNvCxnSpPr>
          <p:nvPr/>
        </p:nvCxnSpPr>
        <p:spPr>
          <a:xfrm>
            <a:off x="5752049" y="1795749"/>
            <a:ext cx="0" cy="3476945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tangolo 16">
            <a:extLst>
              <a:ext uri="{FF2B5EF4-FFF2-40B4-BE49-F238E27FC236}">
                <a16:creationId xmlns:a16="http://schemas.microsoft.com/office/drawing/2014/main" id="{BD9DEFF3-1C94-A82C-8FB6-6F012F05F544}"/>
              </a:ext>
            </a:extLst>
          </p:cNvPr>
          <p:cNvSpPr/>
          <p:nvPr/>
        </p:nvSpPr>
        <p:spPr>
          <a:xfrm>
            <a:off x="1349858" y="3544117"/>
            <a:ext cx="4272465" cy="11939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Nell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cenario pessimist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50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ci sarebbero soltanto </a:t>
            </a:r>
            <a:r>
              <a:rPr lang="it-IT" sz="1600" b="1" dirty="0">
                <a:solidFill>
                  <a:srgbClr val="C00000"/>
                </a:solidFill>
                <a:latin typeface="Source Sans Pro"/>
              </a:rPr>
              <a:t>3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3 milion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</a:t>
            </a:r>
            <a:r>
              <a:rPr lang="it-IT" sz="1600" dirty="0">
                <a:solidFill>
                  <a:srgbClr val="001E60"/>
                </a:solidFill>
                <a:latin typeface="Source Sans Pro"/>
              </a:rPr>
              <a:t>abitanti in Toscan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una decrescita del </a:t>
            </a:r>
            <a:r>
              <a:rPr lang="it-IT" b="1" dirty="0">
                <a:solidFill>
                  <a:srgbClr val="C00000"/>
                </a:solidFill>
                <a:latin typeface="Source Sans Pro"/>
              </a:rPr>
              <a:t>-8,6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%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vs.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23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,6 milioni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80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(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29,6%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vs. 2023) </a:t>
            </a:r>
            <a:endParaRPr lang="it-IT" sz="1600" dirty="0">
              <a:solidFill>
                <a:srgbClr val="001E60"/>
              </a:solidFill>
              <a:latin typeface="Source Sans Pro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8AE35C4C-4347-589C-4255-E04CACFA5A85}"/>
              </a:ext>
            </a:extLst>
          </p:cNvPr>
          <p:cNvSpPr/>
          <p:nvPr/>
        </p:nvSpPr>
        <p:spPr>
          <a:xfrm>
            <a:off x="7109683" y="1665750"/>
            <a:ext cx="4703325" cy="7688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o scenari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median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riporta </a:t>
            </a:r>
            <a:r>
              <a:rPr lang="it-IT" b="1" dirty="0">
                <a:solidFill>
                  <a:srgbClr val="F47B20"/>
                </a:solidFill>
                <a:latin typeface="Source Sans Pro"/>
              </a:rPr>
              <a:t>3,5 mln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</a:t>
            </a:r>
            <a:r>
              <a:rPr lang="it-IT" sz="1600" dirty="0">
                <a:solidFill>
                  <a:srgbClr val="001E60"/>
                </a:solidFill>
                <a:latin typeface="Source Sans Pro"/>
              </a:rPr>
              <a:t>abitant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50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(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4,5%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vs. 2023) e </a:t>
            </a:r>
            <a:r>
              <a:rPr lang="it-IT" b="1" dirty="0">
                <a:solidFill>
                  <a:srgbClr val="F47B20"/>
                </a:solidFill>
                <a:latin typeface="Source Sans Pro"/>
              </a:rPr>
              <a:t>3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0 mln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80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(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16,6%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vs. 2023), meno rispetto alla </a:t>
            </a:r>
            <a:r>
              <a:rPr kumimoji="0" lang="it-IT" sz="160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formanc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nazionale</a:t>
            </a:r>
            <a:endParaRPr lang="it-IT" sz="1600" dirty="0">
              <a:solidFill>
                <a:srgbClr val="001E60"/>
              </a:solidFill>
              <a:latin typeface="Source Sans Pro"/>
            </a:endParaRPr>
          </a:p>
        </p:txBody>
      </p:sp>
      <p:cxnSp>
        <p:nvCxnSpPr>
          <p:cNvPr id="20" name="Connettore a gomito 19">
            <a:extLst>
              <a:ext uri="{FF2B5EF4-FFF2-40B4-BE49-F238E27FC236}">
                <a16:creationId xmlns:a16="http://schemas.microsoft.com/office/drawing/2014/main" id="{30A4A8C6-3777-FD27-FE91-51BEF6981323}"/>
              </a:ext>
            </a:extLst>
          </p:cNvPr>
          <p:cNvCxnSpPr>
            <a:cxnSpLocks/>
          </p:cNvCxnSpPr>
          <p:nvPr/>
        </p:nvCxnSpPr>
        <p:spPr>
          <a:xfrm flipV="1">
            <a:off x="11847359" y="1863680"/>
            <a:ext cx="9" cy="1927383"/>
          </a:xfrm>
          <a:prstGeom prst="bentConnector3">
            <a:avLst>
              <a:gd name="adj1" fmla="val 2540100000"/>
            </a:avLst>
          </a:prstGeom>
          <a:ln w="19050">
            <a:solidFill>
              <a:srgbClr val="F47B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08988AD-01B7-6561-BCC7-5200BEDD6870}"/>
              </a:ext>
            </a:extLst>
          </p:cNvPr>
          <p:cNvSpPr txBox="1"/>
          <p:nvPr/>
        </p:nvSpPr>
        <p:spPr>
          <a:xfrm>
            <a:off x="63681" y="1976202"/>
            <a:ext cx="1250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>
                <a:solidFill>
                  <a:srgbClr val="F47B20"/>
                </a:solidFill>
              </a:rPr>
              <a:t>3,6 milioni 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F6EA5190-7CF0-3943-5BE9-A1D1E634BBC7}"/>
              </a:ext>
            </a:extLst>
          </p:cNvPr>
          <p:cNvGrpSpPr>
            <a:grpSpLocks noChangeAspect="1"/>
          </p:cNvGrpSpPr>
          <p:nvPr/>
        </p:nvGrpSpPr>
        <p:grpSpPr>
          <a:xfrm>
            <a:off x="11613359" y="725368"/>
            <a:ext cx="396000" cy="395093"/>
            <a:chOff x="4769033" y="2450101"/>
            <a:chExt cx="2450649" cy="2445035"/>
          </a:xfrm>
        </p:grpSpPr>
        <p:sp>
          <p:nvSpPr>
            <p:cNvPr id="10" name="Oval 47">
              <a:extLst>
                <a:ext uri="{FF2B5EF4-FFF2-40B4-BE49-F238E27FC236}">
                  <a16:creationId xmlns:a16="http://schemas.microsoft.com/office/drawing/2014/main" id="{2BBF7DE7-C205-1D95-BCDE-5A1A93EF1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9033" y="2450101"/>
              <a:ext cx="2450649" cy="2445035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F47B20"/>
              </a:solidFill>
              <a:round/>
              <a:headEnd/>
              <a:tailEnd/>
            </a:ln>
          </p:spPr>
          <p:txBody>
            <a:bodyPr wrap="none" t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8288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860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7432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2004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>
                <a:defRPr/>
              </a:pPr>
              <a:endParaRPr lang="en-US" altLang="en-US" sz="1050">
                <a:solidFill>
                  <a:srgbClr val="4B7942"/>
                </a:solidFill>
                <a:latin typeface="Univers LT 47 CondensedLt" panose="02000406040000020003" pitchFamily="2" charset="0"/>
              </a:endParaRPr>
            </a:p>
          </p:txBody>
        </p:sp>
        <p:sp>
          <p:nvSpPr>
            <p:cNvPr id="14" name="Freeform 74">
              <a:extLst>
                <a:ext uri="{FF2B5EF4-FFF2-40B4-BE49-F238E27FC236}">
                  <a16:creationId xmlns:a16="http://schemas.microsoft.com/office/drawing/2014/main" id="{9DD73001-3B45-9609-DC69-0A061EC53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710" y="2769718"/>
              <a:ext cx="1906779" cy="1951245"/>
            </a:xfrm>
            <a:custGeom>
              <a:avLst/>
              <a:gdLst>
                <a:gd name="T0" fmla="*/ 2247 w 4425"/>
                <a:gd name="T1" fmla="*/ 842 h 4627"/>
                <a:gd name="T2" fmla="*/ 2031 w 4425"/>
                <a:gd name="T3" fmla="*/ 904 h 4627"/>
                <a:gd name="T4" fmla="*/ 1899 w 4425"/>
                <a:gd name="T5" fmla="*/ 793 h 4627"/>
                <a:gd name="T6" fmla="*/ 1579 w 4425"/>
                <a:gd name="T7" fmla="*/ 696 h 4627"/>
                <a:gd name="T8" fmla="*/ 1474 w 4425"/>
                <a:gd name="T9" fmla="*/ 758 h 4627"/>
                <a:gd name="T10" fmla="*/ 1335 w 4425"/>
                <a:gd name="T11" fmla="*/ 564 h 4627"/>
                <a:gd name="T12" fmla="*/ 1099 w 4425"/>
                <a:gd name="T13" fmla="val 41358"/>
                <a:gd name="T14" fmla="*/ 841 w 4425"/>
                <a:gd name="T15" fmla="*/ 348 h 4627"/>
                <a:gd name="T16" fmla="*/ 598 w 4425"/>
                <a:gd name="T17" fmla="*/ 223 h 4627"/>
                <a:gd name="T18" fmla="*/ 466 w 4425"/>
                <a:gd name="T19" fmla="*/ 28 h 4627"/>
                <a:gd name="T20" fmla="*/ 118 w 4425"/>
                <a:gd name="T21" fmla="*/ 188 h 4627"/>
                <a:gd name="T22" fmla="*/ 69 w 4425"/>
                <a:gd name="T23" fmla="*/ 320 h 4627"/>
                <a:gd name="T24" fmla="*/ 278 w 4425"/>
                <a:gd name="T25" fmla="*/ 452 h 4627"/>
                <a:gd name="T26" fmla="*/ 333 w 4425"/>
                <a:gd name="T27" fmla="*/ 584 h 4627"/>
                <a:gd name="T28" fmla="*/ 347 w 4425"/>
                <a:gd name="T29" fmla="*/ 682 h 4627"/>
                <a:gd name="T30" fmla="*/ 487 w 4425"/>
                <a:gd name="T31" fmla="*/ 828 h 4627"/>
                <a:gd name="T32" fmla="*/ 563 w 4425"/>
                <a:gd name="T33" fmla="*/ 904 h 4627"/>
                <a:gd name="T34" fmla="*/ 814 w 4425"/>
                <a:gd name="T35" fmla="*/ 1169 h 4627"/>
                <a:gd name="T36" fmla="*/ 966 w 4425"/>
                <a:gd name="T37" fmla="*/ 1579 h 4627"/>
                <a:gd name="T38" fmla="*/ 1043 w 4425"/>
                <a:gd name="T39" fmla="*/ 2136 h 4627"/>
                <a:gd name="T40" fmla="*/ 1217 w 4425"/>
                <a:gd name="T41" fmla="*/ 2365 h 4627"/>
                <a:gd name="T42" fmla="*/ 1405 w 4425"/>
                <a:gd name="T43" fmla="*/ 2984 h 4627"/>
                <a:gd name="T44" fmla="*/ 1342 w 4425"/>
                <a:gd name="T45" fmla="*/ 3381 h 4627"/>
                <a:gd name="T46" fmla="*/ 1739 w 4425"/>
                <a:gd name="T47" fmla="*/ 3388 h 4627"/>
                <a:gd name="T48" fmla="*/ 1739 w 4425"/>
                <a:gd name="T49" fmla="*/ 3652 h 4627"/>
                <a:gd name="T50" fmla="*/ 2184 w 4425"/>
                <a:gd name="T51" fmla="*/ 3993 h 4627"/>
                <a:gd name="T52" fmla="*/ 2421 w 4425"/>
                <a:gd name="T53" fmla="*/ 4188 h 4627"/>
                <a:gd name="T54" fmla="*/ 2316 w 4425"/>
                <a:gd name="T55" fmla="*/ 4487 h 4627"/>
                <a:gd name="T56" fmla="*/ 2476 w 4425"/>
                <a:gd name="T57" fmla="*/ 4626 h 4627"/>
                <a:gd name="T58" fmla="*/ 2615 w 4425"/>
                <a:gd name="T59" fmla="*/ 4501 h 4627"/>
                <a:gd name="T60" fmla="*/ 2970 w 4425"/>
                <a:gd name="T61" fmla="*/ 4459 h 4627"/>
                <a:gd name="T62" fmla="*/ 3109 w 4425"/>
                <a:gd name="T63" fmla="*/ 4299 h 4627"/>
                <a:gd name="T64" fmla="*/ 3179 w 4425"/>
                <a:gd name="T65" fmla="*/ 4195 h 4627"/>
                <a:gd name="T66" fmla="*/ 3339 w 4425"/>
                <a:gd name="T67" fmla="*/ 4090 h 4627"/>
                <a:gd name="T68" fmla="*/ 3492 w 4425"/>
                <a:gd name="T69" fmla="*/ 4007 h 4627"/>
                <a:gd name="T70" fmla="*/ 3513 w 4425"/>
                <a:gd name="T71" fmla="*/ 3791 h 4627"/>
                <a:gd name="T72" fmla="*/ 3443 w 4425"/>
                <a:gd name="T73" fmla="*/ 3617 h 4627"/>
                <a:gd name="T74" fmla="*/ 3631 w 4425"/>
                <a:gd name="T75" fmla="*/ 3576 h 4627"/>
                <a:gd name="T76" fmla="*/ 3728 w 4425"/>
                <a:gd name="T77" fmla="*/ 3443 h 4627"/>
                <a:gd name="T78" fmla="*/ 3784 w 4425"/>
                <a:gd name="T79" fmla="*/ 3109 h 4627"/>
                <a:gd name="T80" fmla="*/ 3687 w 4425"/>
                <a:gd name="T81" fmla="*/ 2915 h 4627"/>
                <a:gd name="T82" fmla="*/ 3902 w 4425"/>
                <a:gd name="T83" fmla="*/ 2685 h 4627"/>
                <a:gd name="T84" fmla="*/ 4181 w 4425"/>
                <a:gd name="T85" fmla="*/ 2588 h 4627"/>
                <a:gd name="T86" fmla="*/ 4035 w 4425"/>
                <a:gd name="T87" fmla="*/ 2483 h 4627"/>
                <a:gd name="T88" fmla="*/ 3854 w 4425"/>
                <a:gd name="T89" fmla="*/ 2323 h 4627"/>
                <a:gd name="T90" fmla="*/ 4048 w 4425"/>
                <a:gd name="T91" fmla="*/ 2184 h 4627"/>
                <a:gd name="T92" fmla="*/ 4090 w 4425"/>
                <a:gd name="T93" fmla="*/ 1990 h 4627"/>
                <a:gd name="T94" fmla="*/ 4215 w 4425"/>
                <a:gd name="T95" fmla="*/ 1732 h 4627"/>
                <a:gd name="T96" fmla="*/ 4361 w 4425"/>
                <a:gd name="T97" fmla="*/ 1677 h 4627"/>
                <a:gd name="T98" fmla="*/ 4278 w 4425"/>
                <a:gd name="T99" fmla="*/ 1551 h 4627"/>
                <a:gd name="T100" fmla="*/ 4083 w 4425"/>
                <a:gd name="T101" fmla="*/ 1565 h 4627"/>
                <a:gd name="T102" fmla="*/ 3833 w 4425"/>
                <a:gd name="T103" fmla="*/ 1565 h 4627"/>
                <a:gd name="T104" fmla="*/ 3603 w 4425"/>
                <a:gd name="T105" fmla="*/ 1447 h 4627"/>
                <a:gd name="T106" fmla="*/ 3339 w 4425"/>
                <a:gd name="T107" fmla="*/ 1308 h 4627"/>
                <a:gd name="T108" fmla="*/ 3228 w 4425"/>
                <a:gd name="T109" fmla="*/ 1050 h 4627"/>
                <a:gd name="T110" fmla="*/ 3367 w 4425"/>
                <a:gd name="T111" fmla="*/ 856 h 4627"/>
                <a:gd name="T112" fmla="*/ 3248 w 4425"/>
                <a:gd name="T113" fmla="*/ 807 h 4627"/>
                <a:gd name="T114" fmla="*/ 3179 w 4425"/>
                <a:gd name="T115" fmla="*/ 724 h 4627"/>
                <a:gd name="T116" fmla="*/ 3019 w 4425"/>
                <a:gd name="T117" fmla="*/ 696 h 4627"/>
                <a:gd name="T118" fmla="*/ 2866 w 4425"/>
                <a:gd name="T119" fmla="*/ 522 h 4627"/>
                <a:gd name="T120" fmla="*/ 2650 w 4425"/>
                <a:gd name="T121" fmla="*/ 661 h 4627"/>
                <a:gd name="T122" fmla="*/ 2594 w 4425"/>
                <a:gd name="T123" fmla="*/ 814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5" h="4627">
                  <a:moveTo>
                    <a:pt x="2490" y="821"/>
                  </a:moveTo>
                  <a:lnTo>
                    <a:pt x="2483" y="814"/>
                  </a:lnTo>
                  <a:lnTo>
                    <a:pt x="2379" y="793"/>
                  </a:lnTo>
                  <a:lnTo>
                    <a:pt x="2323" y="828"/>
                  </a:lnTo>
                  <a:lnTo>
                    <a:pt x="2316" y="842"/>
                  </a:lnTo>
                  <a:lnTo>
                    <a:pt x="2247" y="842"/>
                  </a:lnTo>
                  <a:lnTo>
                    <a:pt x="2219" y="828"/>
                  </a:lnTo>
                  <a:lnTo>
                    <a:pt x="2170" y="807"/>
                  </a:lnTo>
                  <a:lnTo>
                    <a:pt x="2191" y="751"/>
                  </a:lnTo>
                  <a:lnTo>
                    <a:pt x="2170" y="730"/>
                  </a:lnTo>
                  <a:lnTo>
                    <a:pt x="2115" y="807"/>
                  </a:lnTo>
                  <a:lnTo>
                    <a:pt x="2031" y="904"/>
                  </a:lnTo>
                  <a:lnTo>
                    <a:pt x="2003" y="904"/>
                  </a:lnTo>
                  <a:lnTo>
                    <a:pt x="2003" y="863"/>
                  </a:lnTo>
                  <a:lnTo>
                    <a:pt x="1968" y="821"/>
                  </a:lnTo>
                  <a:lnTo>
                    <a:pt x="1940" y="821"/>
                  </a:lnTo>
                  <a:lnTo>
                    <a:pt x="1927" y="821"/>
                  </a:lnTo>
                  <a:lnTo>
                    <a:pt x="1899" y="793"/>
                  </a:lnTo>
                  <a:lnTo>
                    <a:pt x="1864" y="786"/>
                  </a:lnTo>
                  <a:lnTo>
                    <a:pt x="1801" y="751"/>
                  </a:lnTo>
                  <a:lnTo>
                    <a:pt x="1767" y="710"/>
                  </a:lnTo>
                  <a:lnTo>
                    <a:pt x="1690" y="696"/>
                  </a:lnTo>
                  <a:lnTo>
                    <a:pt x="1634" y="696"/>
                  </a:lnTo>
                  <a:lnTo>
                    <a:pt x="1579" y="696"/>
                  </a:lnTo>
                  <a:lnTo>
                    <a:pt x="1544" y="724"/>
                  </a:lnTo>
                  <a:lnTo>
                    <a:pt x="1544" y="765"/>
                  </a:lnTo>
                  <a:lnTo>
                    <a:pt x="1544" y="779"/>
                  </a:lnTo>
                  <a:lnTo>
                    <a:pt x="1523" y="779"/>
                  </a:lnTo>
                  <a:lnTo>
                    <a:pt x="1474" y="779"/>
                  </a:lnTo>
                  <a:lnTo>
                    <a:pt x="1474" y="758"/>
                  </a:lnTo>
                  <a:lnTo>
                    <a:pt x="1384" y="696"/>
                  </a:lnTo>
                  <a:lnTo>
                    <a:pt x="1377" y="682"/>
                  </a:lnTo>
                  <a:lnTo>
                    <a:pt x="1377" y="654"/>
                  </a:lnTo>
                  <a:lnTo>
                    <a:pt x="1349" y="626"/>
                  </a:lnTo>
                  <a:lnTo>
                    <a:pt x="1328" y="612"/>
                  </a:lnTo>
                  <a:lnTo>
                    <a:pt x="1335" y="564"/>
                  </a:lnTo>
                  <a:lnTo>
                    <a:pt x="1294" y="536"/>
                  </a:lnTo>
                  <a:lnTo>
                    <a:pt x="1238" y="536"/>
                  </a:lnTo>
                  <a:lnTo>
                    <a:pt x="1203" y="522"/>
                  </a:lnTo>
                  <a:lnTo>
                    <a:pt x="1182" y="494"/>
                  </a:lnTo>
                  <a:lnTo>
                    <a:pt x="1141" y="459"/>
                  </a:lnTo>
                  <a:lnTo>
                    <a:pt x="1099" y="445"/>
                  </a:lnTo>
                  <a:lnTo>
                    <a:pt x="1008" y="403"/>
                  </a:lnTo>
                  <a:lnTo>
                    <a:pt x="939" y="452"/>
                  </a:lnTo>
                  <a:lnTo>
                    <a:pt x="904" y="397"/>
                  </a:lnTo>
                  <a:lnTo>
                    <a:pt x="876" y="369"/>
                  </a:lnTo>
                  <a:lnTo>
                    <a:pt x="848" y="355"/>
                  </a:lnTo>
                  <a:lnTo>
                    <a:pt x="841" y="348"/>
                  </a:lnTo>
                  <a:lnTo>
                    <a:pt x="834" y="334"/>
                  </a:lnTo>
                  <a:lnTo>
                    <a:pt x="786" y="299"/>
                  </a:lnTo>
                  <a:lnTo>
                    <a:pt x="751" y="264"/>
                  </a:lnTo>
                  <a:lnTo>
                    <a:pt x="681" y="271"/>
                  </a:lnTo>
                  <a:lnTo>
                    <a:pt x="647" y="257"/>
                  </a:lnTo>
                  <a:lnTo>
                    <a:pt x="598" y="223"/>
                  </a:lnTo>
                  <a:lnTo>
                    <a:pt x="542" y="195"/>
                  </a:lnTo>
                  <a:lnTo>
                    <a:pt x="493" y="153"/>
                  </a:lnTo>
                  <a:lnTo>
                    <a:pt x="521" y="76"/>
                  </a:lnTo>
                  <a:lnTo>
                    <a:pt x="493" y="63"/>
                  </a:lnTo>
                  <a:lnTo>
                    <a:pt x="466" y="42"/>
                  </a:lnTo>
                  <a:lnTo>
                    <a:pt x="466" y="28"/>
                  </a:lnTo>
                  <a:lnTo>
                    <a:pt x="382" y="0"/>
                  </a:lnTo>
                  <a:lnTo>
                    <a:pt x="347" y="0"/>
                  </a:lnTo>
                  <a:lnTo>
                    <a:pt x="222" y="7"/>
                  </a:lnTo>
                  <a:lnTo>
                    <a:pt x="215" y="42"/>
                  </a:lnTo>
                  <a:lnTo>
                    <a:pt x="118" y="153"/>
                  </a:lnTo>
                  <a:lnTo>
                    <a:pt x="118" y="188"/>
                  </a:lnTo>
                  <a:lnTo>
                    <a:pt x="97" y="188"/>
                  </a:lnTo>
                  <a:lnTo>
                    <a:pt x="90" y="202"/>
                  </a:lnTo>
                  <a:lnTo>
                    <a:pt x="62" y="202"/>
                  </a:lnTo>
                  <a:lnTo>
                    <a:pt x="0" y="230"/>
                  </a:lnTo>
                  <a:lnTo>
                    <a:pt x="34" y="237"/>
                  </a:lnTo>
                  <a:lnTo>
                    <a:pt x="69" y="320"/>
                  </a:lnTo>
                  <a:lnTo>
                    <a:pt x="118" y="348"/>
                  </a:lnTo>
                  <a:lnTo>
                    <a:pt x="160" y="390"/>
                  </a:lnTo>
                  <a:lnTo>
                    <a:pt x="201" y="417"/>
                  </a:lnTo>
                  <a:lnTo>
                    <a:pt x="215" y="417"/>
                  </a:lnTo>
                  <a:lnTo>
                    <a:pt x="222" y="424"/>
                  </a:lnTo>
                  <a:lnTo>
                    <a:pt x="278" y="452"/>
                  </a:lnTo>
                  <a:lnTo>
                    <a:pt x="292" y="536"/>
                  </a:lnTo>
                  <a:lnTo>
                    <a:pt x="313" y="549"/>
                  </a:lnTo>
                  <a:lnTo>
                    <a:pt x="285" y="612"/>
                  </a:lnTo>
                  <a:lnTo>
                    <a:pt x="292" y="647"/>
                  </a:lnTo>
                  <a:lnTo>
                    <a:pt x="326" y="591"/>
                  </a:lnTo>
                  <a:lnTo>
                    <a:pt x="333" y="584"/>
                  </a:lnTo>
                  <a:lnTo>
                    <a:pt x="361" y="577"/>
                  </a:lnTo>
                  <a:lnTo>
                    <a:pt x="389" y="598"/>
                  </a:lnTo>
                  <a:lnTo>
                    <a:pt x="410" y="612"/>
                  </a:lnTo>
                  <a:lnTo>
                    <a:pt x="396" y="612"/>
                  </a:lnTo>
                  <a:lnTo>
                    <a:pt x="347" y="661"/>
                  </a:lnTo>
                  <a:lnTo>
                    <a:pt x="347" y="682"/>
                  </a:lnTo>
                  <a:lnTo>
                    <a:pt x="396" y="675"/>
                  </a:lnTo>
                  <a:lnTo>
                    <a:pt x="452" y="675"/>
                  </a:lnTo>
                  <a:lnTo>
                    <a:pt x="480" y="689"/>
                  </a:lnTo>
                  <a:lnTo>
                    <a:pt x="487" y="765"/>
                  </a:lnTo>
                  <a:lnTo>
                    <a:pt x="507" y="793"/>
                  </a:lnTo>
                  <a:lnTo>
                    <a:pt x="487" y="828"/>
                  </a:lnTo>
                  <a:lnTo>
                    <a:pt x="507" y="842"/>
                  </a:lnTo>
                  <a:lnTo>
                    <a:pt x="542" y="779"/>
                  </a:lnTo>
                  <a:lnTo>
                    <a:pt x="591" y="786"/>
                  </a:lnTo>
                  <a:lnTo>
                    <a:pt x="626" y="821"/>
                  </a:lnTo>
                  <a:lnTo>
                    <a:pt x="626" y="849"/>
                  </a:lnTo>
                  <a:lnTo>
                    <a:pt x="563" y="904"/>
                  </a:lnTo>
                  <a:lnTo>
                    <a:pt x="549" y="939"/>
                  </a:lnTo>
                  <a:lnTo>
                    <a:pt x="549" y="946"/>
                  </a:lnTo>
                  <a:lnTo>
                    <a:pt x="619" y="974"/>
                  </a:lnTo>
                  <a:lnTo>
                    <a:pt x="744" y="1078"/>
                  </a:lnTo>
                  <a:lnTo>
                    <a:pt x="751" y="1092"/>
                  </a:lnTo>
                  <a:lnTo>
                    <a:pt x="814" y="1169"/>
                  </a:lnTo>
                  <a:lnTo>
                    <a:pt x="869" y="1238"/>
                  </a:lnTo>
                  <a:lnTo>
                    <a:pt x="890" y="1287"/>
                  </a:lnTo>
                  <a:lnTo>
                    <a:pt x="918" y="1343"/>
                  </a:lnTo>
                  <a:lnTo>
                    <a:pt x="946" y="1447"/>
                  </a:lnTo>
                  <a:lnTo>
                    <a:pt x="953" y="1516"/>
                  </a:lnTo>
                  <a:lnTo>
                    <a:pt x="966" y="1579"/>
                  </a:lnTo>
                  <a:lnTo>
                    <a:pt x="981" y="1725"/>
                  </a:lnTo>
                  <a:lnTo>
                    <a:pt x="966" y="1739"/>
                  </a:lnTo>
                  <a:lnTo>
                    <a:pt x="1008" y="1962"/>
                  </a:lnTo>
                  <a:lnTo>
                    <a:pt x="1008" y="2010"/>
                  </a:lnTo>
                  <a:lnTo>
                    <a:pt x="1015" y="2066"/>
                  </a:lnTo>
                  <a:lnTo>
                    <a:pt x="1043" y="2136"/>
                  </a:lnTo>
                  <a:lnTo>
                    <a:pt x="1064" y="2191"/>
                  </a:lnTo>
                  <a:lnTo>
                    <a:pt x="1099" y="2219"/>
                  </a:lnTo>
                  <a:lnTo>
                    <a:pt x="1141" y="2254"/>
                  </a:lnTo>
                  <a:lnTo>
                    <a:pt x="1182" y="2337"/>
                  </a:lnTo>
                  <a:lnTo>
                    <a:pt x="1196" y="2351"/>
                  </a:lnTo>
                  <a:lnTo>
                    <a:pt x="1217" y="2365"/>
                  </a:lnTo>
                  <a:lnTo>
                    <a:pt x="1273" y="2497"/>
                  </a:lnTo>
                  <a:lnTo>
                    <a:pt x="1280" y="2532"/>
                  </a:lnTo>
                  <a:lnTo>
                    <a:pt x="1335" y="2588"/>
                  </a:lnTo>
                  <a:lnTo>
                    <a:pt x="1363" y="2630"/>
                  </a:lnTo>
                  <a:lnTo>
                    <a:pt x="1384" y="2720"/>
                  </a:lnTo>
                  <a:lnTo>
                    <a:pt x="1405" y="2984"/>
                  </a:lnTo>
                  <a:lnTo>
                    <a:pt x="1370" y="3193"/>
                  </a:lnTo>
                  <a:lnTo>
                    <a:pt x="1363" y="3193"/>
                  </a:lnTo>
                  <a:lnTo>
                    <a:pt x="1363" y="3235"/>
                  </a:lnTo>
                  <a:lnTo>
                    <a:pt x="1328" y="3249"/>
                  </a:lnTo>
                  <a:lnTo>
                    <a:pt x="1314" y="3290"/>
                  </a:lnTo>
                  <a:lnTo>
                    <a:pt x="1342" y="3381"/>
                  </a:lnTo>
                  <a:lnTo>
                    <a:pt x="1370" y="3388"/>
                  </a:lnTo>
                  <a:lnTo>
                    <a:pt x="1405" y="3409"/>
                  </a:lnTo>
                  <a:lnTo>
                    <a:pt x="1405" y="3367"/>
                  </a:lnTo>
                  <a:lnTo>
                    <a:pt x="1447" y="3339"/>
                  </a:lnTo>
                  <a:lnTo>
                    <a:pt x="1600" y="3339"/>
                  </a:lnTo>
                  <a:lnTo>
                    <a:pt x="1739" y="3388"/>
                  </a:lnTo>
                  <a:lnTo>
                    <a:pt x="1787" y="3423"/>
                  </a:lnTo>
                  <a:lnTo>
                    <a:pt x="1801" y="3485"/>
                  </a:lnTo>
                  <a:lnTo>
                    <a:pt x="1787" y="3541"/>
                  </a:lnTo>
                  <a:lnTo>
                    <a:pt x="1794" y="3576"/>
                  </a:lnTo>
                  <a:lnTo>
                    <a:pt x="1773" y="3638"/>
                  </a:lnTo>
                  <a:lnTo>
                    <a:pt x="1739" y="3652"/>
                  </a:lnTo>
                  <a:lnTo>
                    <a:pt x="1711" y="3666"/>
                  </a:lnTo>
                  <a:lnTo>
                    <a:pt x="1822" y="3729"/>
                  </a:lnTo>
                  <a:lnTo>
                    <a:pt x="1989" y="3763"/>
                  </a:lnTo>
                  <a:lnTo>
                    <a:pt x="2121" y="3833"/>
                  </a:lnTo>
                  <a:lnTo>
                    <a:pt x="2163" y="3930"/>
                  </a:lnTo>
                  <a:lnTo>
                    <a:pt x="2184" y="3993"/>
                  </a:lnTo>
                  <a:lnTo>
                    <a:pt x="2309" y="4042"/>
                  </a:lnTo>
                  <a:lnTo>
                    <a:pt x="2295" y="4070"/>
                  </a:lnTo>
                  <a:lnTo>
                    <a:pt x="2330" y="4111"/>
                  </a:lnTo>
                  <a:lnTo>
                    <a:pt x="2358" y="4188"/>
                  </a:lnTo>
                  <a:lnTo>
                    <a:pt x="2386" y="4202"/>
                  </a:lnTo>
                  <a:lnTo>
                    <a:pt x="2421" y="4188"/>
                  </a:lnTo>
                  <a:lnTo>
                    <a:pt x="2476" y="4292"/>
                  </a:lnTo>
                  <a:lnTo>
                    <a:pt x="2462" y="4424"/>
                  </a:lnTo>
                  <a:lnTo>
                    <a:pt x="2421" y="4466"/>
                  </a:lnTo>
                  <a:lnTo>
                    <a:pt x="2379" y="4459"/>
                  </a:lnTo>
                  <a:lnTo>
                    <a:pt x="2330" y="4438"/>
                  </a:lnTo>
                  <a:lnTo>
                    <a:pt x="2316" y="4487"/>
                  </a:lnTo>
                  <a:lnTo>
                    <a:pt x="2316" y="4515"/>
                  </a:lnTo>
                  <a:lnTo>
                    <a:pt x="2323" y="4556"/>
                  </a:lnTo>
                  <a:lnTo>
                    <a:pt x="2393" y="4591"/>
                  </a:lnTo>
                  <a:lnTo>
                    <a:pt x="2413" y="4626"/>
                  </a:lnTo>
                  <a:lnTo>
                    <a:pt x="2427" y="4619"/>
                  </a:lnTo>
                  <a:lnTo>
                    <a:pt x="2476" y="4626"/>
                  </a:lnTo>
                  <a:lnTo>
                    <a:pt x="2476" y="4612"/>
                  </a:lnTo>
                  <a:lnTo>
                    <a:pt x="2511" y="4570"/>
                  </a:lnTo>
                  <a:lnTo>
                    <a:pt x="2497" y="4556"/>
                  </a:lnTo>
                  <a:lnTo>
                    <a:pt x="2497" y="4536"/>
                  </a:lnTo>
                  <a:lnTo>
                    <a:pt x="2518" y="4522"/>
                  </a:lnTo>
                  <a:lnTo>
                    <a:pt x="2615" y="4501"/>
                  </a:lnTo>
                  <a:lnTo>
                    <a:pt x="2643" y="4536"/>
                  </a:lnTo>
                  <a:lnTo>
                    <a:pt x="2685" y="4529"/>
                  </a:lnTo>
                  <a:lnTo>
                    <a:pt x="2907" y="4591"/>
                  </a:lnTo>
                  <a:lnTo>
                    <a:pt x="2914" y="4536"/>
                  </a:lnTo>
                  <a:lnTo>
                    <a:pt x="2956" y="4494"/>
                  </a:lnTo>
                  <a:lnTo>
                    <a:pt x="2970" y="4459"/>
                  </a:lnTo>
                  <a:lnTo>
                    <a:pt x="3019" y="4466"/>
                  </a:lnTo>
                  <a:lnTo>
                    <a:pt x="3068" y="4459"/>
                  </a:lnTo>
                  <a:lnTo>
                    <a:pt x="3179" y="4466"/>
                  </a:lnTo>
                  <a:lnTo>
                    <a:pt x="3179" y="4355"/>
                  </a:lnTo>
                  <a:lnTo>
                    <a:pt x="3130" y="4327"/>
                  </a:lnTo>
                  <a:lnTo>
                    <a:pt x="3109" y="4299"/>
                  </a:lnTo>
                  <a:lnTo>
                    <a:pt x="3095" y="4285"/>
                  </a:lnTo>
                  <a:lnTo>
                    <a:pt x="3130" y="4230"/>
                  </a:lnTo>
                  <a:lnTo>
                    <a:pt x="3130" y="4222"/>
                  </a:lnTo>
                  <a:lnTo>
                    <a:pt x="3116" y="4188"/>
                  </a:lnTo>
                  <a:lnTo>
                    <a:pt x="3151" y="4174"/>
                  </a:lnTo>
                  <a:lnTo>
                    <a:pt x="3179" y="4195"/>
                  </a:lnTo>
                  <a:lnTo>
                    <a:pt x="3207" y="4174"/>
                  </a:lnTo>
                  <a:lnTo>
                    <a:pt x="3234" y="4174"/>
                  </a:lnTo>
                  <a:lnTo>
                    <a:pt x="3262" y="4160"/>
                  </a:lnTo>
                  <a:lnTo>
                    <a:pt x="3297" y="4132"/>
                  </a:lnTo>
                  <a:lnTo>
                    <a:pt x="3283" y="4111"/>
                  </a:lnTo>
                  <a:lnTo>
                    <a:pt x="3339" y="4090"/>
                  </a:lnTo>
                  <a:lnTo>
                    <a:pt x="3374" y="4090"/>
                  </a:lnTo>
                  <a:lnTo>
                    <a:pt x="3401" y="4035"/>
                  </a:lnTo>
                  <a:lnTo>
                    <a:pt x="3408" y="4021"/>
                  </a:lnTo>
                  <a:lnTo>
                    <a:pt x="3457" y="4035"/>
                  </a:lnTo>
                  <a:lnTo>
                    <a:pt x="3478" y="4021"/>
                  </a:lnTo>
                  <a:lnTo>
                    <a:pt x="3492" y="4007"/>
                  </a:lnTo>
                  <a:lnTo>
                    <a:pt x="3492" y="3958"/>
                  </a:lnTo>
                  <a:lnTo>
                    <a:pt x="3457" y="3937"/>
                  </a:lnTo>
                  <a:lnTo>
                    <a:pt x="3443" y="3868"/>
                  </a:lnTo>
                  <a:lnTo>
                    <a:pt x="3478" y="3868"/>
                  </a:lnTo>
                  <a:lnTo>
                    <a:pt x="3499" y="3812"/>
                  </a:lnTo>
                  <a:lnTo>
                    <a:pt x="3513" y="3791"/>
                  </a:lnTo>
                  <a:lnTo>
                    <a:pt x="3457" y="3763"/>
                  </a:lnTo>
                  <a:lnTo>
                    <a:pt x="3457" y="3743"/>
                  </a:lnTo>
                  <a:lnTo>
                    <a:pt x="3422" y="3715"/>
                  </a:lnTo>
                  <a:lnTo>
                    <a:pt x="3394" y="3701"/>
                  </a:lnTo>
                  <a:lnTo>
                    <a:pt x="3429" y="3631"/>
                  </a:lnTo>
                  <a:lnTo>
                    <a:pt x="3443" y="3617"/>
                  </a:lnTo>
                  <a:lnTo>
                    <a:pt x="3492" y="3680"/>
                  </a:lnTo>
                  <a:lnTo>
                    <a:pt x="3499" y="3652"/>
                  </a:lnTo>
                  <a:lnTo>
                    <a:pt x="3513" y="3610"/>
                  </a:lnTo>
                  <a:lnTo>
                    <a:pt x="3568" y="3582"/>
                  </a:lnTo>
                  <a:lnTo>
                    <a:pt x="3638" y="3597"/>
                  </a:lnTo>
                  <a:lnTo>
                    <a:pt x="3631" y="3576"/>
                  </a:lnTo>
                  <a:lnTo>
                    <a:pt x="3652" y="3569"/>
                  </a:lnTo>
                  <a:lnTo>
                    <a:pt x="3700" y="3513"/>
                  </a:lnTo>
                  <a:lnTo>
                    <a:pt x="3742" y="3520"/>
                  </a:lnTo>
                  <a:lnTo>
                    <a:pt x="3742" y="3506"/>
                  </a:lnTo>
                  <a:lnTo>
                    <a:pt x="3742" y="3471"/>
                  </a:lnTo>
                  <a:lnTo>
                    <a:pt x="3728" y="3443"/>
                  </a:lnTo>
                  <a:lnTo>
                    <a:pt x="3700" y="3436"/>
                  </a:lnTo>
                  <a:lnTo>
                    <a:pt x="3728" y="3353"/>
                  </a:lnTo>
                  <a:lnTo>
                    <a:pt x="3728" y="3276"/>
                  </a:lnTo>
                  <a:lnTo>
                    <a:pt x="3756" y="3193"/>
                  </a:lnTo>
                  <a:lnTo>
                    <a:pt x="3763" y="3186"/>
                  </a:lnTo>
                  <a:lnTo>
                    <a:pt x="3784" y="3109"/>
                  </a:lnTo>
                  <a:lnTo>
                    <a:pt x="3735" y="3082"/>
                  </a:lnTo>
                  <a:lnTo>
                    <a:pt x="3708" y="3109"/>
                  </a:lnTo>
                  <a:lnTo>
                    <a:pt x="3687" y="3061"/>
                  </a:lnTo>
                  <a:lnTo>
                    <a:pt x="3693" y="3040"/>
                  </a:lnTo>
                  <a:lnTo>
                    <a:pt x="3673" y="2957"/>
                  </a:lnTo>
                  <a:lnTo>
                    <a:pt x="3687" y="2915"/>
                  </a:lnTo>
                  <a:lnTo>
                    <a:pt x="3742" y="2859"/>
                  </a:lnTo>
                  <a:lnTo>
                    <a:pt x="3805" y="2831"/>
                  </a:lnTo>
                  <a:lnTo>
                    <a:pt x="3840" y="2824"/>
                  </a:lnTo>
                  <a:lnTo>
                    <a:pt x="3881" y="2720"/>
                  </a:lnTo>
                  <a:lnTo>
                    <a:pt x="3881" y="2685"/>
                  </a:lnTo>
                  <a:lnTo>
                    <a:pt x="3902" y="2685"/>
                  </a:lnTo>
                  <a:lnTo>
                    <a:pt x="3965" y="2713"/>
                  </a:lnTo>
                  <a:lnTo>
                    <a:pt x="4021" y="2678"/>
                  </a:lnTo>
                  <a:lnTo>
                    <a:pt x="4062" y="2664"/>
                  </a:lnTo>
                  <a:lnTo>
                    <a:pt x="4146" y="2616"/>
                  </a:lnTo>
                  <a:lnTo>
                    <a:pt x="4153" y="2616"/>
                  </a:lnTo>
                  <a:lnTo>
                    <a:pt x="4181" y="2588"/>
                  </a:lnTo>
                  <a:lnTo>
                    <a:pt x="4132" y="2546"/>
                  </a:lnTo>
                  <a:lnTo>
                    <a:pt x="4118" y="2567"/>
                  </a:lnTo>
                  <a:lnTo>
                    <a:pt x="4097" y="2616"/>
                  </a:lnTo>
                  <a:lnTo>
                    <a:pt x="4035" y="2588"/>
                  </a:lnTo>
                  <a:lnTo>
                    <a:pt x="4021" y="2553"/>
                  </a:lnTo>
                  <a:lnTo>
                    <a:pt x="4035" y="2483"/>
                  </a:lnTo>
                  <a:lnTo>
                    <a:pt x="3986" y="2421"/>
                  </a:lnTo>
                  <a:lnTo>
                    <a:pt x="3937" y="2428"/>
                  </a:lnTo>
                  <a:lnTo>
                    <a:pt x="3930" y="2351"/>
                  </a:lnTo>
                  <a:lnTo>
                    <a:pt x="3916" y="2351"/>
                  </a:lnTo>
                  <a:lnTo>
                    <a:pt x="3860" y="2351"/>
                  </a:lnTo>
                  <a:lnTo>
                    <a:pt x="3854" y="2323"/>
                  </a:lnTo>
                  <a:lnTo>
                    <a:pt x="3902" y="2275"/>
                  </a:lnTo>
                  <a:lnTo>
                    <a:pt x="3958" y="2268"/>
                  </a:lnTo>
                  <a:lnTo>
                    <a:pt x="3972" y="2240"/>
                  </a:lnTo>
                  <a:lnTo>
                    <a:pt x="4027" y="2198"/>
                  </a:lnTo>
                  <a:lnTo>
                    <a:pt x="4048" y="2198"/>
                  </a:lnTo>
                  <a:lnTo>
                    <a:pt x="4048" y="2184"/>
                  </a:lnTo>
                  <a:lnTo>
                    <a:pt x="4027" y="2163"/>
                  </a:lnTo>
                  <a:lnTo>
                    <a:pt x="3958" y="2122"/>
                  </a:lnTo>
                  <a:lnTo>
                    <a:pt x="3986" y="2066"/>
                  </a:lnTo>
                  <a:lnTo>
                    <a:pt x="4048" y="2066"/>
                  </a:lnTo>
                  <a:lnTo>
                    <a:pt x="4062" y="2073"/>
                  </a:lnTo>
                  <a:lnTo>
                    <a:pt x="4090" y="1990"/>
                  </a:lnTo>
                  <a:lnTo>
                    <a:pt x="4160" y="1892"/>
                  </a:lnTo>
                  <a:lnTo>
                    <a:pt x="4118" y="1829"/>
                  </a:lnTo>
                  <a:lnTo>
                    <a:pt x="4132" y="1823"/>
                  </a:lnTo>
                  <a:lnTo>
                    <a:pt x="4160" y="1809"/>
                  </a:lnTo>
                  <a:lnTo>
                    <a:pt x="4215" y="1774"/>
                  </a:lnTo>
                  <a:lnTo>
                    <a:pt x="4215" y="1732"/>
                  </a:lnTo>
                  <a:lnTo>
                    <a:pt x="4285" y="1739"/>
                  </a:lnTo>
                  <a:lnTo>
                    <a:pt x="4313" y="1697"/>
                  </a:lnTo>
                  <a:lnTo>
                    <a:pt x="4327" y="1697"/>
                  </a:lnTo>
                  <a:lnTo>
                    <a:pt x="4327" y="1739"/>
                  </a:lnTo>
                  <a:lnTo>
                    <a:pt x="4361" y="1739"/>
                  </a:lnTo>
                  <a:lnTo>
                    <a:pt x="4361" y="1677"/>
                  </a:lnTo>
                  <a:lnTo>
                    <a:pt x="4389" y="1683"/>
                  </a:lnTo>
                  <a:lnTo>
                    <a:pt x="4424" y="1677"/>
                  </a:lnTo>
                  <a:lnTo>
                    <a:pt x="4361" y="1614"/>
                  </a:lnTo>
                  <a:lnTo>
                    <a:pt x="4354" y="1600"/>
                  </a:lnTo>
                  <a:lnTo>
                    <a:pt x="4313" y="1572"/>
                  </a:lnTo>
                  <a:lnTo>
                    <a:pt x="4278" y="1551"/>
                  </a:lnTo>
                  <a:lnTo>
                    <a:pt x="4229" y="1565"/>
                  </a:lnTo>
                  <a:lnTo>
                    <a:pt x="4229" y="1579"/>
                  </a:lnTo>
                  <a:lnTo>
                    <a:pt x="4167" y="1572"/>
                  </a:lnTo>
                  <a:lnTo>
                    <a:pt x="4132" y="1600"/>
                  </a:lnTo>
                  <a:lnTo>
                    <a:pt x="4125" y="1628"/>
                  </a:lnTo>
                  <a:lnTo>
                    <a:pt x="4083" y="1565"/>
                  </a:lnTo>
                  <a:lnTo>
                    <a:pt x="4035" y="1579"/>
                  </a:lnTo>
                  <a:lnTo>
                    <a:pt x="3986" y="1579"/>
                  </a:lnTo>
                  <a:lnTo>
                    <a:pt x="3930" y="1607"/>
                  </a:lnTo>
                  <a:lnTo>
                    <a:pt x="3916" y="1593"/>
                  </a:lnTo>
                  <a:lnTo>
                    <a:pt x="3881" y="1572"/>
                  </a:lnTo>
                  <a:lnTo>
                    <a:pt x="3833" y="1565"/>
                  </a:lnTo>
                  <a:lnTo>
                    <a:pt x="3791" y="1565"/>
                  </a:lnTo>
                  <a:lnTo>
                    <a:pt x="3728" y="1510"/>
                  </a:lnTo>
                  <a:lnTo>
                    <a:pt x="3673" y="1482"/>
                  </a:lnTo>
                  <a:lnTo>
                    <a:pt x="3673" y="1454"/>
                  </a:lnTo>
                  <a:lnTo>
                    <a:pt x="3652" y="1454"/>
                  </a:lnTo>
                  <a:lnTo>
                    <a:pt x="3603" y="1447"/>
                  </a:lnTo>
                  <a:lnTo>
                    <a:pt x="3561" y="1454"/>
                  </a:lnTo>
                  <a:lnTo>
                    <a:pt x="3554" y="1454"/>
                  </a:lnTo>
                  <a:lnTo>
                    <a:pt x="3499" y="1412"/>
                  </a:lnTo>
                  <a:lnTo>
                    <a:pt x="3464" y="1377"/>
                  </a:lnTo>
                  <a:lnTo>
                    <a:pt x="3422" y="1364"/>
                  </a:lnTo>
                  <a:lnTo>
                    <a:pt x="3339" y="1308"/>
                  </a:lnTo>
                  <a:lnTo>
                    <a:pt x="3339" y="1252"/>
                  </a:lnTo>
                  <a:lnTo>
                    <a:pt x="3339" y="1210"/>
                  </a:lnTo>
                  <a:lnTo>
                    <a:pt x="3283" y="1176"/>
                  </a:lnTo>
                  <a:lnTo>
                    <a:pt x="3304" y="1141"/>
                  </a:lnTo>
                  <a:lnTo>
                    <a:pt x="3248" y="1092"/>
                  </a:lnTo>
                  <a:lnTo>
                    <a:pt x="3228" y="1050"/>
                  </a:lnTo>
                  <a:lnTo>
                    <a:pt x="3234" y="1037"/>
                  </a:lnTo>
                  <a:lnTo>
                    <a:pt x="3248" y="1037"/>
                  </a:lnTo>
                  <a:lnTo>
                    <a:pt x="3241" y="995"/>
                  </a:lnTo>
                  <a:lnTo>
                    <a:pt x="3283" y="988"/>
                  </a:lnTo>
                  <a:lnTo>
                    <a:pt x="3311" y="939"/>
                  </a:lnTo>
                  <a:lnTo>
                    <a:pt x="3367" y="856"/>
                  </a:lnTo>
                  <a:lnTo>
                    <a:pt x="3401" y="786"/>
                  </a:lnTo>
                  <a:lnTo>
                    <a:pt x="3401" y="779"/>
                  </a:lnTo>
                  <a:lnTo>
                    <a:pt x="3394" y="765"/>
                  </a:lnTo>
                  <a:lnTo>
                    <a:pt x="3339" y="765"/>
                  </a:lnTo>
                  <a:lnTo>
                    <a:pt x="3297" y="765"/>
                  </a:lnTo>
                  <a:lnTo>
                    <a:pt x="3248" y="807"/>
                  </a:lnTo>
                  <a:lnTo>
                    <a:pt x="3228" y="814"/>
                  </a:lnTo>
                  <a:lnTo>
                    <a:pt x="3179" y="779"/>
                  </a:lnTo>
                  <a:lnTo>
                    <a:pt x="3130" y="793"/>
                  </a:lnTo>
                  <a:lnTo>
                    <a:pt x="3130" y="786"/>
                  </a:lnTo>
                  <a:lnTo>
                    <a:pt x="3151" y="751"/>
                  </a:lnTo>
                  <a:lnTo>
                    <a:pt x="3179" y="724"/>
                  </a:lnTo>
                  <a:lnTo>
                    <a:pt x="3172" y="696"/>
                  </a:lnTo>
                  <a:lnTo>
                    <a:pt x="3165" y="689"/>
                  </a:lnTo>
                  <a:lnTo>
                    <a:pt x="3081" y="675"/>
                  </a:lnTo>
                  <a:lnTo>
                    <a:pt x="3068" y="696"/>
                  </a:lnTo>
                  <a:lnTo>
                    <a:pt x="3033" y="689"/>
                  </a:lnTo>
                  <a:lnTo>
                    <a:pt x="3019" y="696"/>
                  </a:lnTo>
                  <a:lnTo>
                    <a:pt x="3005" y="682"/>
                  </a:lnTo>
                  <a:lnTo>
                    <a:pt x="2970" y="647"/>
                  </a:lnTo>
                  <a:lnTo>
                    <a:pt x="2921" y="619"/>
                  </a:lnTo>
                  <a:lnTo>
                    <a:pt x="2907" y="612"/>
                  </a:lnTo>
                  <a:lnTo>
                    <a:pt x="2914" y="577"/>
                  </a:lnTo>
                  <a:lnTo>
                    <a:pt x="2866" y="522"/>
                  </a:lnTo>
                  <a:lnTo>
                    <a:pt x="2803" y="577"/>
                  </a:lnTo>
                  <a:lnTo>
                    <a:pt x="2803" y="591"/>
                  </a:lnTo>
                  <a:lnTo>
                    <a:pt x="2768" y="591"/>
                  </a:lnTo>
                  <a:lnTo>
                    <a:pt x="2713" y="598"/>
                  </a:lnTo>
                  <a:lnTo>
                    <a:pt x="2692" y="633"/>
                  </a:lnTo>
                  <a:lnTo>
                    <a:pt x="2650" y="661"/>
                  </a:lnTo>
                  <a:lnTo>
                    <a:pt x="2629" y="689"/>
                  </a:lnTo>
                  <a:lnTo>
                    <a:pt x="2615" y="689"/>
                  </a:lnTo>
                  <a:lnTo>
                    <a:pt x="2490" y="710"/>
                  </a:lnTo>
                  <a:lnTo>
                    <a:pt x="2518" y="751"/>
                  </a:lnTo>
                  <a:lnTo>
                    <a:pt x="2594" y="793"/>
                  </a:lnTo>
                  <a:lnTo>
                    <a:pt x="2594" y="814"/>
                  </a:lnTo>
                  <a:lnTo>
                    <a:pt x="2574" y="821"/>
                  </a:lnTo>
                  <a:lnTo>
                    <a:pt x="2490" y="821"/>
                  </a:lnTo>
                </a:path>
              </a:pathLst>
            </a:custGeom>
            <a:solidFill>
              <a:srgbClr val="E84C22">
                <a:alpha val="74000"/>
              </a:srgbClr>
            </a:solidFill>
            <a:ln w="12700" cap="flat" cmpd="sng">
              <a:solidFill>
                <a:srgbClr val="F47B20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1E60"/>
                </a:solidFill>
                <a:latin typeface="Univers LT 47 CondensedLt" panose="020004060400000200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0383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F7CCC11-F0BB-B9A6-A65E-E62DBA125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…e la quota di popolazione </a:t>
            </a:r>
            <a:r>
              <a:rPr lang="it-IT" i="1" dirty="0"/>
              <a:t>over</a:t>
            </a:r>
            <a:r>
              <a:rPr lang="it-IT" dirty="0"/>
              <a:t> 65 anni arriverà a pesare per più di un terzo del totale entro il 2050 (+8,4 p.p. vs. 2023)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68244BD0-D128-1C09-0293-997B4134E94F}"/>
              </a:ext>
            </a:extLst>
          </p:cNvPr>
          <p:cNvGraphicFramePr>
            <a:graphicFrameLocks/>
          </p:cNvGraphicFramePr>
          <p:nvPr/>
        </p:nvGraphicFramePr>
        <p:xfrm>
          <a:off x="239487" y="1197428"/>
          <a:ext cx="11745684" cy="4822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6074978F-6102-5D57-B48F-4D7FF0F02E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1808" y="6506512"/>
            <a:ext cx="8488362" cy="277812"/>
          </a:xfrm>
        </p:spPr>
        <p:txBody>
          <a:bodyPr/>
          <a:lstStyle/>
          <a:p>
            <a:r>
              <a:rPr lang="it-IT" dirty="0"/>
              <a:t>Fonte: elaborazione TEHA Group su dati </a:t>
            </a:r>
            <a:r>
              <a:rPr lang="en-US" dirty="0" err="1"/>
              <a:t>Istat</a:t>
            </a:r>
            <a:r>
              <a:rPr lang="en-US" dirty="0"/>
              <a:t>, 2025</a:t>
            </a:r>
            <a:endParaRPr lang="it-IT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1A656231-F143-6FF4-A204-CF63BAFF287F}"/>
              </a:ext>
            </a:extLst>
          </p:cNvPr>
          <p:cNvCxnSpPr>
            <a:cxnSpLocks/>
          </p:cNvCxnSpPr>
          <p:nvPr/>
        </p:nvCxnSpPr>
        <p:spPr>
          <a:xfrm>
            <a:off x="5802086" y="2416628"/>
            <a:ext cx="0" cy="2873829"/>
          </a:xfrm>
          <a:prstGeom prst="line">
            <a:avLst/>
          </a:prstGeom>
          <a:ln w="19050">
            <a:solidFill>
              <a:srgbClr val="F47B2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3F7450AC-7814-5655-1C92-B33CF446928A}"/>
              </a:ext>
            </a:extLst>
          </p:cNvPr>
          <p:cNvCxnSpPr>
            <a:cxnSpLocks/>
          </p:cNvCxnSpPr>
          <p:nvPr/>
        </p:nvCxnSpPr>
        <p:spPr>
          <a:xfrm>
            <a:off x="11776923" y="2427514"/>
            <a:ext cx="0" cy="2873829"/>
          </a:xfrm>
          <a:prstGeom prst="line">
            <a:avLst/>
          </a:prstGeom>
          <a:ln w="19050">
            <a:solidFill>
              <a:srgbClr val="F47B2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7BB19A8-39E3-84D3-9311-9631EA68732E}"/>
              </a:ext>
            </a:extLst>
          </p:cNvPr>
          <p:cNvSpPr txBox="1"/>
          <p:nvPr/>
        </p:nvSpPr>
        <p:spPr>
          <a:xfrm>
            <a:off x="1885948" y="1075244"/>
            <a:ext cx="8423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Proiezione della quota di </a:t>
            </a:r>
            <a:r>
              <a:rPr kumimoji="0" lang="it-IT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over-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65 sul totale della popolazione in Toscana   </a:t>
            </a:r>
            <a:b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(valori </a:t>
            </a:r>
            <a:r>
              <a:rPr lang="it-IT" dirty="0">
                <a:solidFill>
                  <a:srgbClr val="001E60"/>
                </a:solidFill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% - scenario mediano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),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2023-2080</a:t>
            </a:r>
            <a:r>
              <a:rPr kumimoji="0" lang="it-IT" b="0" i="0" u="none" strike="noStrike" kern="1200" cap="none" spc="0" normalizeH="0" baseline="3000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endParaRPr kumimoji="0" lang="it-IT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D0BDB5E0-7B5F-AF16-4902-604BF84DD7D8}"/>
              </a:ext>
            </a:extLst>
          </p:cNvPr>
          <p:cNvCxnSpPr>
            <a:cxnSpLocks/>
          </p:cNvCxnSpPr>
          <p:nvPr/>
        </p:nvCxnSpPr>
        <p:spPr>
          <a:xfrm flipV="1">
            <a:off x="699952" y="2878771"/>
            <a:ext cx="5033554" cy="223751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e 17">
            <a:extLst>
              <a:ext uri="{FF2B5EF4-FFF2-40B4-BE49-F238E27FC236}">
                <a16:creationId xmlns:a16="http://schemas.microsoft.com/office/drawing/2014/main" id="{592307AF-2087-3B61-0152-6E7CFA4E5989}"/>
              </a:ext>
            </a:extLst>
          </p:cNvPr>
          <p:cNvSpPr/>
          <p:nvPr/>
        </p:nvSpPr>
        <p:spPr>
          <a:xfrm>
            <a:off x="1885948" y="3429000"/>
            <a:ext cx="2923001" cy="112564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/>
              <a:t>Δ</a:t>
            </a:r>
            <a:r>
              <a:rPr lang="it-IT"/>
              <a:t> 2023-2050:</a:t>
            </a:r>
          </a:p>
          <a:p>
            <a:pPr algn="ctr"/>
            <a:r>
              <a:rPr lang="it-IT" b="1"/>
              <a:t>+8,4 p.p. TOSC</a:t>
            </a:r>
            <a:br>
              <a:rPr lang="it-IT" b="1"/>
            </a:br>
            <a:r>
              <a:rPr lang="it-IT"/>
              <a:t>vs. +10,4 p.p. ITA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4FB90498-DEA8-1C9B-C91C-DE5180EF93EA}"/>
              </a:ext>
            </a:extLst>
          </p:cNvPr>
          <p:cNvGrpSpPr>
            <a:grpSpLocks noChangeAspect="1"/>
          </p:cNvGrpSpPr>
          <p:nvPr/>
        </p:nvGrpSpPr>
        <p:grpSpPr>
          <a:xfrm>
            <a:off x="11613359" y="725368"/>
            <a:ext cx="396000" cy="395093"/>
            <a:chOff x="4769033" y="2450101"/>
            <a:chExt cx="2450649" cy="2445035"/>
          </a:xfrm>
        </p:grpSpPr>
        <p:sp>
          <p:nvSpPr>
            <p:cNvPr id="4" name="Oval 47">
              <a:extLst>
                <a:ext uri="{FF2B5EF4-FFF2-40B4-BE49-F238E27FC236}">
                  <a16:creationId xmlns:a16="http://schemas.microsoft.com/office/drawing/2014/main" id="{A7771978-B077-91CD-971B-E3D19677C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9033" y="2450101"/>
              <a:ext cx="2450649" cy="2445035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F47B20"/>
              </a:solidFill>
              <a:round/>
              <a:headEnd/>
              <a:tailEnd/>
            </a:ln>
          </p:spPr>
          <p:txBody>
            <a:bodyPr wrap="none" t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8288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860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7432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2004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>
                <a:defRPr/>
              </a:pPr>
              <a:endParaRPr lang="en-US" altLang="en-US" sz="1050">
                <a:solidFill>
                  <a:srgbClr val="4B7942"/>
                </a:solidFill>
                <a:latin typeface="Univers LT 47 CondensedLt" panose="02000406040000020003" pitchFamily="2" charset="0"/>
              </a:endParaRPr>
            </a:p>
          </p:txBody>
        </p:sp>
        <p:sp>
          <p:nvSpPr>
            <p:cNvPr id="7" name="Freeform 74">
              <a:extLst>
                <a:ext uri="{FF2B5EF4-FFF2-40B4-BE49-F238E27FC236}">
                  <a16:creationId xmlns:a16="http://schemas.microsoft.com/office/drawing/2014/main" id="{D4240AFA-1FE0-5DAB-9E8B-CBBB25B3D1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710" y="2769718"/>
              <a:ext cx="1906779" cy="1951245"/>
            </a:xfrm>
            <a:custGeom>
              <a:avLst/>
              <a:gdLst>
                <a:gd name="T0" fmla="*/ 2247 w 4425"/>
                <a:gd name="T1" fmla="*/ 842 h 4627"/>
                <a:gd name="T2" fmla="*/ 2031 w 4425"/>
                <a:gd name="T3" fmla="*/ 904 h 4627"/>
                <a:gd name="T4" fmla="*/ 1899 w 4425"/>
                <a:gd name="T5" fmla="*/ 793 h 4627"/>
                <a:gd name="T6" fmla="*/ 1579 w 4425"/>
                <a:gd name="T7" fmla="*/ 696 h 4627"/>
                <a:gd name="T8" fmla="*/ 1474 w 4425"/>
                <a:gd name="T9" fmla="*/ 758 h 4627"/>
                <a:gd name="T10" fmla="*/ 1335 w 4425"/>
                <a:gd name="T11" fmla="*/ 564 h 4627"/>
                <a:gd name="T12" fmla="*/ 1099 w 4425"/>
                <a:gd name="T13" fmla="val 41358"/>
                <a:gd name="T14" fmla="*/ 841 w 4425"/>
                <a:gd name="T15" fmla="*/ 348 h 4627"/>
                <a:gd name="T16" fmla="*/ 598 w 4425"/>
                <a:gd name="T17" fmla="*/ 223 h 4627"/>
                <a:gd name="T18" fmla="*/ 466 w 4425"/>
                <a:gd name="T19" fmla="*/ 28 h 4627"/>
                <a:gd name="T20" fmla="*/ 118 w 4425"/>
                <a:gd name="T21" fmla="*/ 188 h 4627"/>
                <a:gd name="T22" fmla="*/ 69 w 4425"/>
                <a:gd name="T23" fmla="*/ 320 h 4627"/>
                <a:gd name="T24" fmla="*/ 278 w 4425"/>
                <a:gd name="T25" fmla="*/ 452 h 4627"/>
                <a:gd name="T26" fmla="*/ 333 w 4425"/>
                <a:gd name="T27" fmla="*/ 584 h 4627"/>
                <a:gd name="T28" fmla="*/ 347 w 4425"/>
                <a:gd name="T29" fmla="*/ 682 h 4627"/>
                <a:gd name="T30" fmla="*/ 487 w 4425"/>
                <a:gd name="T31" fmla="*/ 828 h 4627"/>
                <a:gd name="T32" fmla="*/ 563 w 4425"/>
                <a:gd name="T33" fmla="*/ 904 h 4627"/>
                <a:gd name="T34" fmla="*/ 814 w 4425"/>
                <a:gd name="T35" fmla="*/ 1169 h 4627"/>
                <a:gd name="T36" fmla="*/ 966 w 4425"/>
                <a:gd name="T37" fmla="*/ 1579 h 4627"/>
                <a:gd name="T38" fmla="*/ 1043 w 4425"/>
                <a:gd name="T39" fmla="*/ 2136 h 4627"/>
                <a:gd name="T40" fmla="*/ 1217 w 4425"/>
                <a:gd name="T41" fmla="*/ 2365 h 4627"/>
                <a:gd name="T42" fmla="*/ 1405 w 4425"/>
                <a:gd name="T43" fmla="*/ 2984 h 4627"/>
                <a:gd name="T44" fmla="*/ 1342 w 4425"/>
                <a:gd name="T45" fmla="*/ 3381 h 4627"/>
                <a:gd name="T46" fmla="*/ 1739 w 4425"/>
                <a:gd name="T47" fmla="*/ 3388 h 4627"/>
                <a:gd name="T48" fmla="*/ 1739 w 4425"/>
                <a:gd name="T49" fmla="*/ 3652 h 4627"/>
                <a:gd name="T50" fmla="*/ 2184 w 4425"/>
                <a:gd name="T51" fmla="*/ 3993 h 4627"/>
                <a:gd name="T52" fmla="*/ 2421 w 4425"/>
                <a:gd name="T53" fmla="*/ 4188 h 4627"/>
                <a:gd name="T54" fmla="*/ 2316 w 4425"/>
                <a:gd name="T55" fmla="*/ 4487 h 4627"/>
                <a:gd name="T56" fmla="*/ 2476 w 4425"/>
                <a:gd name="T57" fmla="*/ 4626 h 4627"/>
                <a:gd name="T58" fmla="*/ 2615 w 4425"/>
                <a:gd name="T59" fmla="*/ 4501 h 4627"/>
                <a:gd name="T60" fmla="*/ 2970 w 4425"/>
                <a:gd name="T61" fmla="*/ 4459 h 4627"/>
                <a:gd name="T62" fmla="*/ 3109 w 4425"/>
                <a:gd name="T63" fmla="*/ 4299 h 4627"/>
                <a:gd name="T64" fmla="*/ 3179 w 4425"/>
                <a:gd name="T65" fmla="*/ 4195 h 4627"/>
                <a:gd name="T66" fmla="*/ 3339 w 4425"/>
                <a:gd name="T67" fmla="*/ 4090 h 4627"/>
                <a:gd name="T68" fmla="*/ 3492 w 4425"/>
                <a:gd name="T69" fmla="*/ 4007 h 4627"/>
                <a:gd name="T70" fmla="*/ 3513 w 4425"/>
                <a:gd name="T71" fmla="*/ 3791 h 4627"/>
                <a:gd name="T72" fmla="*/ 3443 w 4425"/>
                <a:gd name="T73" fmla="*/ 3617 h 4627"/>
                <a:gd name="T74" fmla="*/ 3631 w 4425"/>
                <a:gd name="T75" fmla="*/ 3576 h 4627"/>
                <a:gd name="T76" fmla="*/ 3728 w 4425"/>
                <a:gd name="T77" fmla="*/ 3443 h 4627"/>
                <a:gd name="T78" fmla="*/ 3784 w 4425"/>
                <a:gd name="T79" fmla="*/ 3109 h 4627"/>
                <a:gd name="T80" fmla="*/ 3687 w 4425"/>
                <a:gd name="T81" fmla="*/ 2915 h 4627"/>
                <a:gd name="T82" fmla="*/ 3902 w 4425"/>
                <a:gd name="T83" fmla="*/ 2685 h 4627"/>
                <a:gd name="T84" fmla="*/ 4181 w 4425"/>
                <a:gd name="T85" fmla="*/ 2588 h 4627"/>
                <a:gd name="T86" fmla="*/ 4035 w 4425"/>
                <a:gd name="T87" fmla="*/ 2483 h 4627"/>
                <a:gd name="T88" fmla="*/ 3854 w 4425"/>
                <a:gd name="T89" fmla="*/ 2323 h 4627"/>
                <a:gd name="T90" fmla="*/ 4048 w 4425"/>
                <a:gd name="T91" fmla="*/ 2184 h 4627"/>
                <a:gd name="T92" fmla="*/ 4090 w 4425"/>
                <a:gd name="T93" fmla="*/ 1990 h 4627"/>
                <a:gd name="T94" fmla="*/ 4215 w 4425"/>
                <a:gd name="T95" fmla="*/ 1732 h 4627"/>
                <a:gd name="T96" fmla="*/ 4361 w 4425"/>
                <a:gd name="T97" fmla="*/ 1677 h 4627"/>
                <a:gd name="T98" fmla="*/ 4278 w 4425"/>
                <a:gd name="T99" fmla="*/ 1551 h 4627"/>
                <a:gd name="T100" fmla="*/ 4083 w 4425"/>
                <a:gd name="T101" fmla="*/ 1565 h 4627"/>
                <a:gd name="T102" fmla="*/ 3833 w 4425"/>
                <a:gd name="T103" fmla="*/ 1565 h 4627"/>
                <a:gd name="T104" fmla="*/ 3603 w 4425"/>
                <a:gd name="T105" fmla="*/ 1447 h 4627"/>
                <a:gd name="T106" fmla="*/ 3339 w 4425"/>
                <a:gd name="T107" fmla="*/ 1308 h 4627"/>
                <a:gd name="T108" fmla="*/ 3228 w 4425"/>
                <a:gd name="T109" fmla="*/ 1050 h 4627"/>
                <a:gd name="T110" fmla="*/ 3367 w 4425"/>
                <a:gd name="T111" fmla="*/ 856 h 4627"/>
                <a:gd name="T112" fmla="*/ 3248 w 4425"/>
                <a:gd name="T113" fmla="*/ 807 h 4627"/>
                <a:gd name="T114" fmla="*/ 3179 w 4425"/>
                <a:gd name="T115" fmla="*/ 724 h 4627"/>
                <a:gd name="T116" fmla="*/ 3019 w 4425"/>
                <a:gd name="T117" fmla="*/ 696 h 4627"/>
                <a:gd name="T118" fmla="*/ 2866 w 4425"/>
                <a:gd name="T119" fmla="*/ 522 h 4627"/>
                <a:gd name="T120" fmla="*/ 2650 w 4425"/>
                <a:gd name="T121" fmla="*/ 661 h 4627"/>
                <a:gd name="T122" fmla="*/ 2594 w 4425"/>
                <a:gd name="T123" fmla="*/ 814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5" h="4627">
                  <a:moveTo>
                    <a:pt x="2490" y="821"/>
                  </a:moveTo>
                  <a:lnTo>
                    <a:pt x="2483" y="814"/>
                  </a:lnTo>
                  <a:lnTo>
                    <a:pt x="2379" y="793"/>
                  </a:lnTo>
                  <a:lnTo>
                    <a:pt x="2323" y="828"/>
                  </a:lnTo>
                  <a:lnTo>
                    <a:pt x="2316" y="842"/>
                  </a:lnTo>
                  <a:lnTo>
                    <a:pt x="2247" y="842"/>
                  </a:lnTo>
                  <a:lnTo>
                    <a:pt x="2219" y="828"/>
                  </a:lnTo>
                  <a:lnTo>
                    <a:pt x="2170" y="807"/>
                  </a:lnTo>
                  <a:lnTo>
                    <a:pt x="2191" y="751"/>
                  </a:lnTo>
                  <a:lnTo>
                    <a:pt x="2170" y="730"/>
                  </a:lnTo>
                  <a:lnTo>
                    <a:pt x="2115" y="807"/>
                  </a:lnTo>
                  <a:lnTo>
                    <a:pt x="2031" y="904"/>
                  </a:lnTo>
                  <a:lnTo>
                    <a:pt x="2003" y="904"/>
                  </a:lnTo>
                  <a:lnTo>
                    <a:pt x="2003" y="863"/>
                  </a:lnTo>
                  <a:lnTo>
                    <a:pt x="1968" y="821"/>
                  </a:lnTo>
                  <a:lnTo>
                    <a:pt x="1940" y="821"/>
                  </a:lnTo>
                  <a:lnTo>
                    <a:pt x="1927" y="821"/>
                  </a:lnTo>
                  <a:lnTo>
                    <a:pt x="1899" y="793"/>
                  </a:lnTo>
                  <a:lnTo>
                    <a:pt x="1864" y="786"/>
                  </a:lnTo>
                  <a:lnTo>
                    <a:pt x="1801" y="751"/>
                  </a:lnTo>
                  <a:lnTo>
                    <a:pt x="1767" y="710"/>
                  </a:lnTo>
                  <a:lnTo>
                    <a:pt x="1690" y="696"/>
                  </a:lnTo>
                  <a:lnTo>
                    <a:pt x="1634" y="696"/>
                  </a:lnTo>
                  <a:lnTo>
                    <a:pt x="1579" y="696"/>
                  </a:lnTo>
                  <a:lnTo>
                    <a:pt x="1544" y="724"/>
                  </a:lnTo>
                  <a:lnTo>
                    <a:pt x="1544" y="765"/>
                  </a:lnTo>
                  <a:lnTo>
                    <a:pt x="1544" y="779"/>
                  </a:lnTo>
                  <a:lnTo>
                    <a:pt x="1523" y="779"/>
                  </a:lnTo>
                  <a:lnTo>
                    <a:pt x="1474" y="779"/>
                  </a:lnTo>
                  <a:lnTo>
                    <a:pt x="1474" y="758"/>
                  </a:lnTo>
                  <a:lnTo>
                    <a:pt x="1384" y="696"/>
                  </a:lnTo>
                  <a:lnTo>
                    <a:pt x="1377" y="682"/>
                  </a:lnTo>
                  <a:lnTo>
                    <a:pt x="1377" y="654"/>
                  </a:lnTo>
                  <a:lnTo>
                    <a:pt x="1349" y="626"/>
                  </a:lnTo>
                  <a:lnTo>
                    <a:pt x="1328" y="612"/>
                  </a:lnTo>
                  <a:lnTo>
                    <a:pt x="1335" y="564"/>
                  </a:lnTo>
                  <a:lnTo>
                    <a:pt x="1294" y="536"/>
                  </a:lnTo>
                  <a:lnTo>
                    <a:pt x="1238" y="536"/>
                  </a:lnTo>
                  <a:lnTo>
                    <a:pt x="1203" y="522"/>
                  </a:lnTo>
                  <a:lnTo>
                    <a:pt x="1182" y="494"/>
                  </a:lnTo>
                  <a:lnTo>
                    <a:pt x="1141" y="459"/>
                  </a:lnTo>
                  <a:lnTo>
                    <a:pt x="1099" y="445"/>
                  </a:lnTo>
                  <a:lnTo>
                    <a:pt x="1008" y="403"/>
                  </a:lnTo>
                  <a:lnTo>
                    <a:pt x="939" y="452"/>
                  </a:lnTo>
                  <a:lnTo>
                    <a:pt x="904" y="397"/>
                  </a:lnTo>
                  <a:lnTo>
                    <a:pt x="876" y="369"/>
                  </a:lnTo>
                  <a:lnTo>
                    <a:pt x="848" y="355"/>
                  </a:lnTo>
                  <a:lnTo>
                    <a:pt x="841" y="348"/>
                  </a:lnTo>
                  <a:lnTo>
                    <a:pt x="834" y="334"/>
                  </a:lnTo>
                  <a:lnTo>
                    <a:pt x="786" y="299"/>
                  </a:lnTo>
                  <a:lnTo>
                    <a:pt x="751" y="264"/>
                  </a:lnTo>
                  <a:lnTo>
                    <a:pt x="681" y="271"/>
                  </a:lnTo>
                  <a:lnTo>
                    <a:pt x="647" y="257"/>
                  </a:lnTo>
                  <a:lnTo>
                    <a:pt x="598" y="223"/>
                  </a:lnTo>
                  <a:lnTo>
                    <a:pt x="542" y="195"/>
                  </a:lnTo>
                  <a:lnTo>
                    <a:pt x="493" y="153"/>
                  </a:lnTo>
                  <a:lnTo>
                    <a:pt x="521" y="76"/>
                  </a:lnTo>
                  <a:lnTo>
                    <a:pt x="493" y="63"/>
                  </a:lnTo>
                  <a:lnTo>
                    <a:pt x="466" y="42"/>
                  </a:lnTo>
                  <a:lnTo>
                    <a:pt x="466" y="28"/>
                  </a:lnTo>
                  <a:lnTo>
                    <a:pt x="382" y="0"/>
                  </a:lnTo>
                  <a:lnTo>
                    <a:pt x="347" y="0"/>
                  </a:lnTo>
                  <a:lnTo>
                    <a:pt x="222" y="7"/>
                  </a:lnTo>
                  <a:lnTo>
                    <a:pt x="215" y="42"/>
                  </a:lnTo>
                  <a:lnTo>
                    <a:pt x="118" y="153"/>
                  </a:lnTo>
                  <a:lnTo>
                    <a:pt x="118" y="188"/>
                  </a:lnTo>
                  <a:lnTo>
                    <a:pt x="97" y="188"/>
                  </a:lnTo>
                  <a:lnTo>
                    <a:pt x="90" y="202"/>
                  </a:lnTo>
                  <a:lnTo>
                    <a:pt x="62" y="202"/>
                  </a:lnTo>
                  <a:lnTo>
                    <a:pt x="0" y="230"/>
                  </a:lnTo>
                  <a:lnTo>
                    <a:pt x="34" y="237"/>
                  </a:lnTo>
                  <a:lnTo>
                    <a:pt x="69" y="320"/>
                  </a:lnTo>
                  <a:lnTo>
                    <a:pt x="118" y="348"/>
                  </a:lnTo>
                  <a:lnTo>
                    <a:pt x="160" y="390"/>
                  </a:lnTo>
                  <a:lnTo>
                    <a:pt x="201" y="417"/>
                  </a:lnTo>
                  <a:lnTo>
                    <a:pt x="215" y="417"/>
                  </a:lnTo>
                  <a:lnTo>
                    <a:pt x="222" y="424"/>
                  </a:lnTo>
                  <a:lnTo>
                    <a:pt x="278" y="452"/>
                  </a:lnTo>
                  <a:lnTo>
                    <a:pt x="292" y="536"/>
                  </a:lnTo>
                  <a:lnTo>
                    <a:pt x="313" y="549"/>
                  </a:lnTo>
                  <a:lnTo>
                    <a:pt x="285" y="612"/>
                  </a:lnTo>
                  <a:lnTo>
                    <a:pt x="292" y="647"/>
                  </a:lnTo>
                  <a:lnTo>
                    <a:pt x="326" y="591"/>
                  </a:lnTo>
                  <a:lnTo>
                    <a:pt x="333" y="584"/>
                  </a:lnTo>
                  <a:lnTo>
                    <a:pt x="361" y="577"/>
                  </a:lnTo>
                  <a:lnTo>
                    <a:pt x="389" y="598"/>
                  </a:lnTo>
                  <a:lnTo>
                    <a:pt x="410" y="612"/>
                  </a:lnTo>
                  <a:lnTo>
                    <a:pt x="396" y="612"/>
                  </a:lnTo>
                  <a:lnTo>
                    <a:pt x="347" y="661"/>
                  </a:lnTo>
                  <a:lnTo>
                    <a:pt x="347" y="682"/>
                  </a:lnTo>
                  <a:lnTo>
                    <a:pt x="396" y="675"/>
                  </a:lnTo>
                  <a:lnTo>
                    <a:pt x="452" y="675"/>
                  </a:lnTo>
                  <a:lnTo>
                    <a:pt x="480" y="689"/>
                  </a:lnTo>
                  <a:lnTo>
                    <a:pt x="487" y="765"/>
                  </a:lnTo>
                  <a:lnTo>
                    <a:pt x="507" y="793"/>
                  </a:lnTo>
                  <a:lnTo>
                    <a:pt x="487" y="828"/>
                  </a:lnTo>
                  <a:lnTo>
                    <a:pt x="507" y="842"/>
                  </a:lnTo>
                  <a:lnTo>
                    <a:pt x="542" y="779"/>
                  </a:lnTo>
                  <a:lnTo>
                    <a:pt x="591" y="786"/>
                  </a:lnTo>
                  <a:lnTo>
                    <a:pt x="626" y="821"/>
                  </a:lnTo>
                  <a:lnTo>
                    <a:pt x="626" y="849"/>
                  </a:lnTo>
                  <a:lnTo>
                    <a:pt x="563" y="904"/>
                  </a:lnTo>
                  <a:lnTo>
                    <a:pt x="549" y="939"/>
                  </a:lnTo>
                  <a:lnTo>
                    <a:pt x="549" y="946"/>
                  </a:lnTo>
                  <a:lnTo>
                    <a:pt x="619" y="974"/>
                  </a:lnTo>
                  <a:lnTo>
                    <a:pt x="744" y="1078"/>
                  </a:lnTo>
                  <a:lnTo>
                    <a:pt x="751" y="1092"/>
                  </a:lnTo>
                  <a:lnTo>
                    <a:pt x="814" y="1169"/>
                  </a:lnTo>
                  <a:lnTo>
                    <a:pt x="869" y="1238"/>
                  </a:lnTo>
                  <a:lnTo>
                    <a:pt x="890" y="1287"/>
                  </a:lnTo>
                  <a:lnTo>
                    <a:pt x="918" y="1343"/>
                  </a:lnTo>
                  <a:lnTo>
                    <a:pt x="946" y="1447"/>
                  </a:lnTo>
                  <a:lnTo>
                    <a:pt x="953" y="1516"/>
                  </a:lnTo>
                  <a:lnTo>
                    <a:pt x="966" y="1579"/>
                  </a:lnTo>
                  <a:lnTo>
                    <a:pt x="981" y="1725"/>
                  </a:lnTo>
                  <a:lnTo>
                    <a:pt x="966" y="1739"/>
                  </a:lnTo>
                  <a:lnTo>
                    <a:pt x="1008" y="1962"/>
                  </a:lnTo>
                  <a:lnTo>
                    <a:pt x="1008" y="2010"/>
                  </a:lnTo>
                  <a:lnTo>
                    <a:pt x="1015" y="2066"/>
                  </a:lnTo>
                  <a:lnTo>
                    <a:pt x="1043" y="2136"/>
                  </a:lnTo>
                  <a:lnTo>
                    <a:pt x="1064" y="2191"/>
                  </a:lnTo>
                  <a:lnTo>
                    <a:pt x="1099" y="2219"/>
                  </a:lnTo>
                  <a:lnTo>
                    <a:pt x="1141" y="2254"/>
                  </a:lnTo>
                  <a:lnTo>
                    <a:pt x="1182" y="2337"/>
                  </a:lnTo>
                  <a:lnTo>
                    <a:pt x="1196" y="2351"/>
                  </a:lnTo>
                  <a:lnTo>
                    <a:pt x="1217" y="2365"/>
                  </a:lnTo>
                  <a:lnTo>
                    <a:pt x="1273" y="2497"/>
                  </a:lnTo>
                  <a:lnTo>
                    <a:pt x="1280" y="2532"/>
                  </a:lnTo>
                  <a:lnTo>
                    <a:pt x="1335" y="2588"/>
                  </a:lnTo>
                  <a:lnTo>
                    <a:pt x="1363" y="2630"/>
                  </a:lnTo>
                  <a:lnTo>
                    <a:pt x="1384" y="2720"/>
                  </a:lnTo>
                  <a:lnTo>
                    <a:pt x="1405" y="2984"/>
                  </a:lnTo>
                  <a:lnTo>
                    <a:pt x="1370" y="3193"/>
                  </a:lnTo>
                  <a:lnTo>
                    <a:pt x="1363" y="3193"/>
                  </a:lnTo>
                  <a:lnTo>
                    <a:pt x="1363" y="3235"/>
                  </a:lnTo>
                  <a:lnTo>
                    <a:pt x="1328" y="3249"/>
                  </a:lnTo>
                  <a:lnTo>
                    <a:pt x="1314" y="3290"/>
                  </a:lnTo>
                  <a:lnTo>
                    <a:pt x="1342" y="3381"/>
                  </a:lnTo>
                  <a:lnTo>
                    <a:pt x="1370" y="3388"/>
                  </a:lnTo>
                  <a:lnTo>
                    <a:pt x="1405" y="3409"/>
                  </a:lnTo>
                  <a:lnTo>
                    <a:pt x="1405" y="3367"/>
                  </a:lnTo>
                  <a:lnTo>
                    <a:pt x="1447" y="3339"/>
                  </a:lnTo>
                  <a:lnTo>
                    <a:pt x="1600" y="3339"/>
                  </a:lnTo>
                  <a:lnTo>
                    <a:pt x="1739" y="3388"/>
                  </a:lnTo>
                  <a:lnTo>
                    <a:pt x="1787" y="3423"/>
                  </a:lnTo>
                  <a:lnTo>
                    <a:pt x="1801" y="3485"/>
                  </a:lnTo>
                  <a:lnTo>
                    <a:pt x="1787" y="3541"/>
                  </a:lnTo>
                  <a:lnTo>
                    <a:pt x="1794" y="3576"/>
                  </a:lnTo>
                  <a:lnTo>
                    <a:pt x="1773" y="3638"/>
                  </a:lnTo>
                  <a:lnTo>
                    <a:pt x="1739" y="3652"/>
                  </a:lnTo>
                  <a:lnTo>
                    <a:pt x="1711" y="3666"/>
                  </a:lnTo>
                  <a:lnTo>
                    <a:pt x="1822" y="3729"/>
                  </a:lnTo>
                  <a:lnTo>
                    <a:pt x="1989" y="3763"/>
                  </a:lnTo>
                  <a:lnTo>
                    <a:pt x="2121" y="3833"/>
                  </a:lnTo>
                  <a:lnTo>
                    <a:pt x="2163" y="3930"/>
                  </a:lnTo>
                  <a:lnTo>
                    <a:pt x="2184" y="3993"/>
                  </a:lnTo>
                  <a:lnTo>
                    <a:pt x="2309" y="4042"/>
                  </a:lnTo>
                  <a:lnTo>
                    <a:pt x="2295" y="4070"/>
                  </a:lnTo>
                  <a:lnTo>
                    <a:pt x="2330" y="4111"/>
                  </a:lnTo>
                  <a:lnTo>
                    <a:pt x="2358" y="4188"/>
                  </a:lnTo>
                  <a:lnTo>
                    <a:pt x="2386" y="4202"/>
                  </a:lnTo>
                  <a:lnTo>
                    <a:pt x="2421" y="4188"/>
                  </a:lnTo>
                  <a:lnTo>
                    <a:pt x="2476" y="4292"/>
                  </a:lnTo>
                  <a:lnTo>
                    <a:pt x="2462" y="4424"/>
                  </a:lnTo>
                  <a:lnTo>
                    <a:pt x="2421" y="4466"/>
                  </a:lnTo>
                  <a:lnTo>
                    <a:pt x="2379" y="4459"/>
                  </a:lnTo>
                  <a:lnTo>
                    <a:pt x="2330" y="4438"/>
                  </a:lnTo>
                  <a:lnTo>
                    <a:pt x="2316" y="4487"/>
                  </a:lnTo>
                  <a:lnTo>
                    <a:pt x="2316" y="4515"/>
                  </a:lnTo>
                  <a:lnTo>
                    <a:pt x="2323" y="4556"/>
                  </a:lnTo>
                  <a:lnTo>
                    <a:pt x="2393" y="4591"/>
                  </a:lnTo>
                  <a:lnTo>
                    <a:pt x="2413" y="4626"/>
                  </a:lnTo>
                  <a:lnTo>
                    <a:pt x="2427" y="4619"/>
                  </a:lnTo>
                  <a:lnTo>
                    <a:pt x="2476" y="4626"/>
                  </a:lnTo>
                  <a:lnTo>
                    <a:pt x="2476" y="4612"/>
                  </a:lnTo>
                  <a:lnTo>
                    <a:pt x="2511" y="4570"/>
                  </a:lnTo>
                  <a:lnTo>
                    <a:pt x="2497" y="4556"/>
                  </a:lnTo>
                  <a:lnTo>
                    <a:pt x="2497" y="4536"/>
                  </a:lnTo>
                  <a:lnTo>
                    <a:pt x="2518" y="4522"/>
                  </a:lnTo>
                  <a:lnTo>
                    <a:pt x="2615" y="4501"/>
                  </a:lnTo>
                  <a:lnTo>
                    <a:pt x="2643" y="4536"/>
                  </a:lnTo>
                  <a:lnTo>
                    <a:pt x="2685" y="4529"/>
                  </a:lnTo>
                  <a:lnTo>
                    <a:pt x="2907" y="4591"/>
                  </a:lnTo>
                  <a:lnTo>
                    <a:pt x="2914" y="4536"/>
                  </a:lnTo>
                  <a:lnTo>
                    <a:pt x="2956" y="4494"/>
                  </a:lnTo>
                  <a:lnTo>
                    <a:pt x="2970" y="4459"/>
                  </a:lnTo>
                  <a:lnTo>
                    <a:pt x="3019" y="4466"/>
                  </a:lnTo>
                  <a:lnTo>
                    <a:pt x="3068" y="4459"/>
                  </a:lnTo>
                  <a:lnTo>
                    <a:pt x="3179" y="4466"/>
                  </a:lnTo>
                  <a:lnTo>
                    <a:pt x="3179" y="4355"/>
                  </a:lnTo>
                  <a:lnTo>
                    <a:pt x="3130" y="4327"/>
                  </a:lnTo>
                  <a:lnTo>
                    <a:pt x="3109" y="4299"/>
                  </a:lnTo>
                  <a:lnTo>
                    <a:pt x="3095" y="4285"/>
                  </a:lnTo>
                  <a:lnTo>
                    <a:pt x="3130" y="4230"/>
                  </a:lnTo>
                  <a:lnTo>
                    <a:pt x="3130" y="4222"/>
                  </a:lnTo>
                  <a:lnTo>
                    <a:pt x="3116" y="4188"/>
                  </a:lnTo>
                  <a:lnTo>
                    <a:pt x="3151" y="4174"/>
                  </a:lnTo>
                  <a:lnTo>
                    <a:pt x="3179" y="4195"/>
                  </a:lnTo>
                  <a:lnTo>
                    <a:pt x="3207" y="4174"/>
                  </a:lnTo>
                  <a:lnTo>
                    <a:pt x="3234" y="4174"/>
                  </a:lnTo>
                  <a:lnTo>
                    <a:pt x="3262" y="4160"/>
                  </a:lnTo>
                  <a:lnTo>
                    <a:pt x="3297" y="4132"/>
                  </a:lnTo>
                  <a:lnTo>
                    <a:pt x="3283" y="4111"/>
                  </a:lnTo>
                  <a:lnTo>
                    <a:pt x="3339" y="4090"/>
                  </a:lnTo>
                  <a:lnTo>
                    <a:pt x="3374" y="4090"/>
                  </a:lnTo>
                  <a:lnTo>
                    <a:pt x="3401" y="4035"/>
                  </a:lnTo>
                  <a:lnTo>
                    <a:pt x="3408" y="4021"/>
                  </a:lnTo>
                  <a:lnTo>
                    <a:pt x="3457" y="4035"/>
                  </a:lnTo>
                  <a:lnTo>
                    <a:pt x="3478" y="4021"/>
                  </a:lnTo>
                  <a:lnTo>
                    <a:pt x="3492" y="4007"/>
                  </a:lnTo>
                  <a:lnTo>
                    <a:pt x="3492" y="3958"/>
                  </a:lnTo>
                  <a:lnTo>
                    <a:pt x="3457" y="3937"/>
                  </a:lnTo>
                  <a:lnTo>
                    <a:pt x="3443" y="3868"/>
                  </a:lnTo>
                  <a:lnTo>
                    <a:pt x="3478" y="3868"/>
                  </a:lnTo>
                  <a:lnTo>
                    <a:pt x="3499" y="3812"/>
                  </a:lnTo>
                  <a:lnTo>
                    <a:pt x="3513" y="3791"/>
                  </a:lnTo>
                  <a:lnTo>
                    <a:pt x="3457" y="3763"/>
                  </a:lnTo>
                  <a:lnTo>
                    <a:pt x="3457" y="3743"/>
                  </a:lnTo>
                  <a:lnTo>
                    <a:pt x="3422" y="3715"/>
                  </a:lnTo>
                  <a:lnTo>
                    <a:pt x="3394" y="3701"/>
                  </a:lnTo>
                  <a:lnTo>
                    <a:pt x="3429" y="3631"/>
                  </a:lnTo>
                  <a:lnTo>
                    <a:pt x="3443" y="3617"/>
                  </a:lnTo>
                  <a:lnTo>
                    <a:pt x="3492" y="3680"/>
                  </a:lnTo>
                  <a:lnTo>
                    <a:pt x="3499" y="3652"/>
                  </a:lnTo>
                  <a:lnTo>
                    <a:pt x="3513" y="3610"/>
                  </a:lnTo>
                  <a:lnTo>
                    <a:pt x="3568" y="3582"/>
                  </a:lnTo>
                  <a:lnTo>
                    <a:pt x="3638" y="3597"/>
                  </a:lnTo>
                  <a:lnTo>
                    <a:pt x="3631" y="3576"/>
                  </a:lnTo>
                  <a:lnTo>
                    <a:pt x="3652" y="3569"/>
                  </a:lnTo>
                  <a:lnTo>
                    <a:pt x="3700" y="3513"/>
                  </a:lnTo>
                  <a:lnTo>
                    <a:pt x="3742" y="3520"/>
                  </a:lnTo>
                  <a:lnTo>
                    <a:pt x="3742" y="3506"/>
                  </a:lnTo>
                  <a:lnTo>
                    <a:pt x="3742" y="3471"/>
                  </a:lnTo>
                  <a:lnTo>
                    <a:pt x="3728" y="3443"/>
                  </a:lnTo>
                  <a:lnTo>
                    <a:pt x="3700" y="3436"/>
                  </a:lnTo>
                  <a:lnTo>
                    <a:pt x="3728" y="3353"/>
                  </a:lnTo>
                  <a:lnTo>
                    <a:pt x="3728" y="3276"/>
                  </a:lnTo>
                  <a:lnTo>
                    <a:pt x="3756" y="3193"/>
                  </a:lnTo>
                  <a:lnTo>
                    <a:pt x="3763" y="3186"/>
                  </a:lnTo>
                  <a:lnTo>
                    <a:pt x="3784" y="3109"/>
                  </a:lnTo>
                  <a:lnTo>
                    <a:pt x="3735" y="3082"/>
                  </a:lnTo>
                  <a:lnTo>
                    <a:pt x="3708" y="3109"/>
                  </a:lnTo>
                  <a:lnTo>
                    <a:pt x="3687" y="3061"/>
                  </a:lnTo>
                  <a:lnTo>
                    <a:pt x="3693" y="3040"/>
                  </a:lnTo>
                  <a:lnTo>
                    <a:pt x="3673" y="2957"/>
                  </a:lnTo>
                  <a:lnTo>
                    <a:pt x="3687" y="2915"/>
                  </a:lnTo>
                  <a:lnTo>
                    <a:pt x="3742" y="2859"/>
                  </a:lnTo>
                  <a:lnTo>
                    <a:pt x="3805" y="2831"/>
                  </a:lnTo>
                  <a:lnTo>
                    <a:pt x="3840" y="2824"/>
                  </a:lnTo>
                  <a:lnTo>
                    <a:pt x="3881" y="2720"/>
                  </a:lnTo>
                  <a:lnTo>
                    <a:pt x="3881" y="2685"/>
                  </a:lnTo>
                  <a:lnTo>
                    <a:pt x="3902" y="2685"/>
                  </a:lnTo>
                  <a:lnTo>
                    <a:pt x="3965" y="2713"/>
                  </a:lnTo>
                  <a:lnTo>
                    <a:pt x="4021" y="2678"/>
                  </a:lnTo>
                  <a:lnTo>
                    <a:pt x="4062" y="2664"/>
                  </a:lnTo>
                  <a:lnTo>
                    <a:pt x="4146" y="2616"/>
                  </a:lnTo>
                  <a:lnTo>
                    <a:pt x="4153" y="2616"/>
                  </a:lnTo>
                  <a:lnTo>
                    <a:pt x="4181" y="2588"/>
                  </a:lnTo>
                  <a:lnTo>
                    <a:pt x="4132" y="2546"/>
                  </a:lnTo>
                  <a:lnTo>
                    <a:pt x="4118" y="2567"/>
                  </a:lnTo>
                  <a:lnTo>
                    <a:pt x="4097" y="2616"/>
                  </a:lnTo>
                  <a:lnTo>
                    <a:pt x="4035" y="2588"/>
                  </a:lnTo>
                  <a:lnTo>
                    <a:pt x="4021" y="2553"/>
                  </a:lnTo>
                  <a:lnTo>
                    <a:pt x="4035" y="2483"/>
                  </a:lnTo>
                  <a:lnTo>
                    <a:pt x="3986" y="2421"/>
                  </a:lnTo>
                  <a:lnTo>
                    <a:pt x="3937" y="2428"/>
                  </a:lnTo>
                  <a:lnTo>
                    <a:pt x="3930" y="2351"/>
                  </a:lnTo>
                  <a:lnTo>
                    <a:pt x="3916" y="2351"/>
                  </a:lnTo>
                  <a:lnTo>
                    <a:pt x="3860" y="2351"/>
                  </a:lnTo>
                  <a:lnTo>
                    <a:pt x="3854" y="2323"/>
                  </a:lnTo>
                  <a:lnTo>
                    <a:pt x="3902" y="2275"/>
                  </a:lnTo>
                  <a:lnTo>
                    <a:pt x="3958" y="2268"/>
                  </a:lnTo>
                  <a:lnTo>
                    <a:pt x="3972" y="2240"/>
                  </a:lnTo>
                  <a:lnTo>
                    <a:pt x="4027" y="2198"/>
                  </a:lnTo>
                  <a:lnTo>
                    <a:pt x="4048" y="2198"/>
                  </a:lnTo>
                  <a:lnTo>
                    <a:pt x="4048" y="2184"/>
                  </a:lnTo>
                  <a:lnTo>
                    <a:pt x="4027" y="2163"/>
                  </a:lnTo>
                  <a:lnTo>
                    <a:pt x="3958" y="2122"/>
                  </a:lnTo>
                  <a:lnTo>
                    <a:pt x="3986" y="2066"/>
                  </a:lnTo>
                  <a:lnTo>
                    <a:pt x="4048" y="2066"/>
                  </a:lnTo>
                  <a:lnTo>
                    <a:pt x="4062" y="2073"/>
                  </a:lnTo>
                  <a:lnTo>
                    <a:pt x="4090" y="1990"/>
                  </a:lnTo>
                  <a:lnTo>
                    <a:pt x="4160" y="1892"/>
                  </a:lnTo>
                  <a:lnTo>
                    <a:pt x="4118" y="1829"/>
                  </a:lnTo>
                  <a:lnTo>
                    <a:pt x="4132" y="1823"/>
                  </a:lnTo>
                  <a:lnTo>
                    <a:pt x="4160" y="1809"/>
                  </a:lnTo>
                  <a:lnTo>
                    <a:pt x="4215" y="1774"/>
                  </a:lnTo>
                  <a:lnTo>
                    <a:pt x="4215" y="1732"/>
                  </a:lnTo>
                  <a:lnTo>
                    <a:pt x="4285" y="1739"/>
                  </a:lnTo>
                  <a:lnTo>
                    <a:pt x="4313" y="1697"/>
                  </a:lnTo>
                  <a:lnTo>
                    <a:pt x="4327" y="1697"/>
                  </a:lnTo>
                  <a:lnTo>
                    <a:pt x="4327" y="1739"/>
                  </a:lnTo>
                  <a:lnTo>
                    <a:pt x="4361" y="1739"/>
                  </a:lnTo>
                  <a:lnTo>
                    <a:pt x="4361" y="1677"/>
                  </a:lnTo>
                  <a:lnTo>
                    <a:pt x="4389" y="1683"/>
                  </a:lnTo>
                  <a:lnTo>
                    <a:pt x="4424" y="1677"/>
                  </a:lnTo>
                  <a:lnTo>
                    <a:pt x="4361" y="1614"/>
                  </a:lnTo>
                  <a:lnTo>
                    <a:pt x="4354" y="1600"/>
                  </a:lnTo>
                  <a:lnTo>
                    <a:pt x="4313" y="1572"/>
                  </a:lnTo>
                  <a:lnTo>
                    <a:pt x="4278" y="1551"/>
                  </a:lnTo>
                  <a:lnTo>
                    <a:pt x="4229" y="1565"/>
                  </a:lnTo>
                  <a:lnTo>
                    <a:pt x="4229" y="1579"/>
                  </a:lnTo>
                  <a:lnTo>
                    <a:pt x="4167" y="1572"/>
                  </a:lnTo>
                  <a:lnTo>
                    <a:pt x="4132" y="1600"/>
                  </a:lnTo>
                  <a:lnTo>
                    <a:pt x="4125" y="1628"/>
                  </a:lnTo>
                  <a:lnTo>
                    <a:pt x="4083" y="1565"/>
                  </a:lnTo>
                  <a:lnTo>
                    <a:pt x="4035" y="1579"/>
                  </a:lnTo>
                  <a:lnTo>
                    <a:pt x="3986" y="1579"/>
                  </a:lnTo>
                  <a:lnTo>
                    <a:pt x="3930" y="1607"/>
                  </a:lnTo>
                  <a:lnTo>
                    <a:pt x="3916" y="1593"/>
                  </a:lnTo>
                  <a:lnTo>
                    <a:pt x="3881" y="1572"/>
                  </a:lnTo>
                  <a:lnTo>
                    <a:pt x="3833" y="1565"/>
                  </a:lnTo>
                  <a:lnTo>
                    <a:pt x="3791" y="1565"/>
                  </a:lnTo>
                  <a:lnTo>
                    <a:pt x="3728" y="1510"/>
                  </a:lnTo>
                  <a:lnTo>
                    <a:pt x="3673" y="1482"/>
                  </a:lnTo>
                  <a:lnTo>
                    <a:pt x="3673" y="1454"/>
                  </a:lnTo>
                  <a:lnTo>
                    <a:pt x="3652" y="1454"/>
                  </a:lnTo>
                  <a:lnTo>
                    <a:pt x="3603" y="1447"/>
                  </a:lnTo>
                  <a:lnTo>
                    <a:pt x="3561" y="1454"/>
                  </a:lnTo>
                  <a:lnTo>
                    <a:pt x="3554" y="1454"/>
                  </a:lnTo>
                  <a:lnTo>
                    <a:pt x="3499" y="1412"/>
                  </a:lnTo>
                  <a:lnTo>
                    <a:pt x="3464" y="1377"/>
                  </a:lnTo>
                  <a:lnTo>
                    <a:pt x="3422" y="1364"/>
                  </a:lnTo>
                  <a:lnTo>
                    <a:pt x="3339" y="1308"/>
                  </a:lnTo>
                  <a:lnTo>
                    <a:pt x="3339" y="1252"/>
                  </a:lnTo>
                  <a:lnTo>
                    <a:pt x="3339" y="1210"/>
                  </a:lnTo>
                  <a:lnTo>
                    <a:pt x="3283" y="1176"/>
                  </a:lnTo>
                  <a:lnTo>
                    <a:pt x="3304" y="1141"/>
                  </a:lnTo>
                  <a:lnTo>
                    <a:pt x="3248" y="1092"/>
                  </a:lnTo>
                  <a:lnTo>
                    <a:pt x="3228" y="1050"/>
                  </a:lnTo>
                  <a:lnTo>
                    <a:pt x="3234" y="1037"/>
                  </a:lnTo>
                  <a:lnTo>
                    <a:pt x="3248" y="1037"/>
                  </a:lnTo>
                  <a:lnTo>
                    <a:pt x="3241" y="995"/>
                  </a:lnTo>
                  <a:lnTo>
                    <a:pt x="3283" y="988"/>
                  </a:lnTo>
                  <a:lnTo>
                    <a:pt x="3311" y="939"/>
                  </a:lnTo>
                  <a:lnTo>
                    <a:pt x="3367" y="856"/>
                  </a:lnTo>
                  <a:lnTo>
                    <a:pt x="3401" y="786"/>
                  </a:lnTo>
                  <a:lnTo>
                    <a:pt x="3401" y="779"/>
                  </a:lnTo>
                  <a:lnTo>
                    <a:pt x="3394" y="765"/>
                  </a:lnTo>
                  <a:lnTo>
                    <a:pt x="3339" y="765"/>
                  </a:lnTo>
                  <a:lnTo>
                    <a:pt x="3297" y="765"/>
                  </a:lnTo>
                  <a:lnTo>
                    <a:pt x="3248" y="807"/>
                  </a:lnTo>
                  <a:lnTo>
                    <a:pt x="3228" y="814"/>
                  </a:lnTo>
                  <a:lnTo>
                    <a:pt x="3179" y="779"/>
                  </a:lnTo>
                  <a:lnTo>
                    <a:pt x="3130" y="793"/>
                  </a:lnTo>
                  <a:lnTo>
                    <a:pt x="3130" y="786"/>
                  </a:lnTo>
                  <a:lnTo>
                    <a:pt x="3151" y="751"/>
                  </a:lnTo>
                  <a:lnTo>
                    <a:pt x="3179" y="724"/>
                  </a:lnTo>
                  <a:lnTo>
                    <a:pt x="3172" y="696"/>
                  </a:lnTo>
                  <a:lnTo>
                    <a:pt x="3165" y="689"/>
                  </a:lnTo>
                  <a:lnTo>
                    <a:pt x="3081" y="675"/>
                  </a:lnTo>
                  <a:lnTo>
                    <a:pt x="3068" y="696"/>
                  </a:lnTo>
                  <a:lnTo>
                    <a:pt x="3033" y="689"/>
                  </a:lnTo>
                  <a:lnTo>
                    <a:pt x="3019" y="696"/>
                  </a:lnTo>
                  <a:lnTo>
                    <a:pt x="3005" y="682"/>
                  </a:lnTo>
                  <a:lnTo>
                    <a:pt x="2970" y="647"/>
                  </a:lnTo>
                  <a:lnTo>
                    <a:pt x="2921" y="619"/>
                  </a:lnTo>
                  <a:lnTo>
                    <a:pt x="2907" y="612"/>
                  </a:lnTo>
                  <a:lnTo>
                    <a:pt x="2914" y="577"/>
                  </a:lnTo>
                  <a:lnTo>
                    <a:pt x="2866" y="522"/>
                  </a:lnTo>
                  <a:lnTo>
                    <a:pt x="2803" y="577"/>
                  </a:lnTo>
                  <a:lnTo>
                    <a:pt x="2803" y="591"/>
                  </a:lnTo>
                  <a:lnTo>
                    <a:pt x="2768" y="591"/>
                  </a:lnTo>
                  <a:lnTo>
                    <a:pt x="2713" y="598"/>
                  </a:lnTo>
                  <a:lnTo>
                    <a:pt x="2692" y="633"/>
                  </a:lnTo>
                  <a:lnTo>
                    <a:pt x="2650" y="661"/>
                  </a:lnTo>
                  <a:lnTo>
                    <a:pt x="2629" y="689"/>
                  </a:lnTo>
                  <a:lnTo>
                    <a:pt x="2615" y="689"/>
                  </a:lnTo>
                  <a:lnTo>
                    <a:pt x="2490" y="710"/>
                  </a:lnTo>
                  <a:lnTo>
                    <a:pt x="2518" y="751"/>
                  </a:lnTo>
                  <a:lnTo>
                    <a:pt x="2594" y="793"/>
                  </a:lnTo>
                  <a:lnTo>
                    <a:pt x="2594" y="814"/>
                  </a:lnTo>
                  <a:lnTo>
                    <a:pt x="2574" y="821"/>
                  </a:lnTo>
                  <a:lnTo>
                    <a:pt x="2490" y="821"/>
                  </a:lnTo>
                </a:path>
              </a:pathLst>
            </a:custGeom>
            <a:solidFill>
              <a:srgbClr val="E84C22">
                <a:alpha val="74000"/>
              </a:srgbClr>
            </a:solidFill>
            <a:ln w="12700" cap="flat" cmpd="sng">
              <a:solidFill>
                <a:srgbClr val="F47B20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1E60"/>
                </a:solidFill>
                <a:latin typeface="Univers LT 47 CondensedLt" panose="02000406040000020003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807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2">
            <a:extLst>
              <a:ext uri="{FF2B5EF4-FFF2-40B4-BE49-F238E27FC236}">
                <a16:creationId xmlns:a16="http://schemas.microsoft.com/office/drawing/2014/main" id="{9EEF2984-D2BE-D2AD-D9AB-67D543330C61}"/>
              </a:ext>
            </a:extLst>
          </p:cNvPr>
          <p:cNvSpPr txBox="1">
            <a:spLocks/>
          </p:cNvSpPr>
          <p:nvPr/>
        </p:nvSpPr>
        <p:spPr>
          <a:xfrm>
            <a:off x="457483" y="45721"/>
            <a:ext cx="10492457" cy="674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dirty="0">
                <a:solidFill>
                  <a:srgbClr val="C0000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L’OPPORTUNITÀ: </a:t>
            </a:r>
            <a:r>
              <a:rPr lang="it-IT" sz="2800" dirty="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oggi la Toscana presenta un buono stato di salute della popolazione (7 abitanti su 10, al 4° posto in Italia)…</a:t>
            </a:r>
            <a:endParaRPr kumimoji="0" lang="it-IT" sz="2800" b="0" i="0" u="none" strike="noStrike" kern="1200" cap="none" spc="0" normalizeH="0" baseline="0" noProof="0" dirty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4F609D5-C7CA-4615-1779-5CBB3B540E65}"/>
              </a:ext>
            </a:extLst>
          </p:cNvPr>
          <p:cNvSpPr txBox="1"/>
          <p:nvPr/>
        </p:nvSpPr>
        <p:spPr>
          <a:xfrm>
            <a:off x="212090" y="1066363"/>
            <a:ext cx="9143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ercentuale di persone in buona salute nelle Regioni italiane</a:t>
            </a:r>
            <a:br>
              <a:rPr lang="it-IT" b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r>
              <a:rPr lang="it-IT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(ogni 100 persone con le stesse caratteristiche), 2023</a:t>
            </a:r>
            <a:endParaRPr lang="es-ES" dirty="0">
              <a:solidFill>
                <a:srgbClr val="001E60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9CA94DE4-FB20-DFD7-60B9-848512D4A9E6}"/>
              </a:ext>
            </a:extLst>
          </p:cNvPr>
          <p:cNvSpPr txBox="1">
            <a:spLocks/>
          </p:cNvSpPr>
          <p:nvPr/>
        </p:nvSpPr>
        <p:spPr>
          <a:xfrm>
            <a:off x="1617751" y="6508704"/>
            <a:ext cx="7655443" cy="2778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su dati Istat, Indagine «Aspetti della vita quotidiana», 2025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CDE70604-CF6F-9907-0ADE-53C0E73B7DB1}"/>
              </a:ext>
            </a:extLst>
          </p:cNvPr>
          <p:cNvGrpSpPr>
            <a:grpSpLocks noChangeAspect="1"/>
          </p:cNvGrpSpPr>
          <p:nvPr/>
        </p:nvGrpSpPr>
        <p:grpSpPr>
          <a:xfrm>
            <a:off x="11613359" y="725368"/>
            <a:ext cx="396000" cy="395093"/>
            <a:chOff x="4769033" y="2450101"/>
            <a:chExt cx="2450649" cy="2445035"/>
          </a:xfrm>
        </p:grpSpPr>
        <p:sp>
          <p:nvSpPr>
            <p:cNvPr id="9" name="Oval 47">
              <a:extLst>
                <a:ext uri="{FF2B5EF4-FFF2-40B4-BE49-F238E27FC236}">
                  <a16:creationId xmlns:a16="http://schemas.microsoft.com/office/drawing/2014/main" id="{67998789-51A0-90A6-713B-AA07C85EC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9033" y="2450101"/>
              <a:ext cx="2450649" cy="2445035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F47B20"/>
              </a:solidFill>
              <a:round/>
              <a:headEnd/>
              <a:tailEnd/>
            </a:ln>
          </p:spPr>
          <p:txBody>
            <a:bodyPr wrap="none" t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8288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860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7432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200400" indent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>
                <a:defRPr/>
              </a:pPr>
              <a:endParaRPr lang="en-US" altLang="en-US" sz="1050">
                <a:solidFill>
                  <a:srgbClr val="4B7942"/>
                </a:solidFill>
                <a:latin typeface="Univers LT 47 CondensedLt" panose="02000406040000020003" pitchFamily="2" charset="0"/>
              </a:endParaRPr>
            </a:p>
          </p:txBody>
        </p:sp>
        <p:sp>
          <p:nvSpPr>
            <p:cNvPr id="10" name="Freeform 74">
              <a:extLst>
                <a:ext uri="{FF2B5EF4-FFF2-40B4-BE49-F238E27FC236}">
                  <a16:creationId xmlns:a16="http://schemas.microsoft.com/office/drawing/2014/main" id="{B7AD7F0C-55BD-63C6-0519-5228D6058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710" y="2769718"/>
              <a:ext cx="1906779" cy="1951245"/>
            </a:xfrm>
            <a:custGeom>
              <a:avLst/>
              <a:gdLst>
                <a:gd name="T0" fmla="*/ 2247 w 4425"/>
                <a:gd name="T1" fmla="*/ 842 h 4627"/>
                <a:gd name="T2" fmla="*/ 2031 w 4425"/>
                <a:gd name="T3" fmla="*/ 904 h 4627"/>
                <a:gd name="T4" fmla="*/ 1899 w 4425"/>
                <a:gd name="T5" fmla="*/ 793 h 4627"/>
                <a:gd name="T6" fmla="*/ 1579 w 4425"/>
                <a:gd name="T7" fmla="*/ 696 h 4627"/>
                <a:gd name="T8" fmla="*/ 1474 w 4425"/>
                <a:gd name="T9" fmla="*/ 758 h 4627"/>
                <a:gd name="T10" fmla="*/ 1335 w 4425"/>
                <a:gd name="T11" fmla="*/ 564 h 4627"/>
                <a:gd name="T12" fmla="*/ 1099 w 4425"/>
                <a:gd name="T13" fmla="val 41358"/>
                <a:gd name="T14" fmla="*/ 841 w 4425"/>
                <a:gd name="T15" fmla="*/ 348 h 4627"/>
                <a:gd name="T16" fmla="*/ 598 w 4425"/>
                <a:gd name="T17" fmla="*/ 223 h 4627"/>
                <a:gd name="T18" fmla="*/ 466 w 4425"/>
                <a:gd name="T19" fmla="*/ 28 h 4627"/>
                <a:gd name="T20" fmla="*/ 118 w 4425"/>
                <a:gd name="T21" fmla="*/ 188 h 4627"/>
                <a:gd name="T22" fmla="*/ 69 w 4425"/>
                <a:gd name="T23" fmla="*/ 320 h 4627"/>
                <a:gd name="T24" fmla="*/ 278 w 4425"/>
                <a:gd name="T25" fmla="*/ 452 h 4627"/>
                <a:gd name="T26" fmla="*/ 333 w 4425"/>
                <a:gd name="T27" fmla="*/ 584 h 4627"/>
                <a:gd name="T28" fmla="*/ 347 w 4425"/>
                <a:gd name="T29" fmla="*/ 682 h 4627"/>
                <a:gd name="T30" fmla="*/ 487 w 4425"/>
                <a:gd name="T31" fmla="*/ 828 h 4627"/>
                <a:gd name="T32" fmla="*/ 563 w 4425"/>
                <a:gd name="T33" fmla="*/ 904 h 4627"/>
                <a:gd name="T34" fmla="*/ 814 w 4425"/>
                <a:gd name="T35" fmla="*/ 1169 h 4627"/>
                <a:gd name="T36" fmla="*/ 966 w 4425"/>
                <a:gd name="T37" fmla="*/ 1579 h 4627"/>
                <a:gd name="T38" fmla="*/ 1043 w 4425"/>
                <a:gd name="T39" fmla="*/ 2136 h 4627"/>
                <a:gd name="T40" fmla="*/ 1217 w 4425"/>
                <a:gd name="T41" fmla="*/ 2365 h 4627"/>
                <a:gd name="T42" fmla="*/ 1405 w 4425"/>
                <a:gd name="T43" fmla="*/ 2984 h 4627"/>
                <a:gd name="T44" fmla="*/ 1342 w 4425"/>
                <a:gd name="T45" fmla="*/ 3381 h 4627"/>
                <a:gd name="T46" fmla="*/ 1739 w 4425"/>
                <a:gd name="T47" fmla="*/ 3388 h 4627"/>
                <a:gd name="T48" fmla="*/ 1739 w 4425"/>
                <a:gd name="T49" fmla="*/ 3652 h 4627"/>
                <a:gd name="T50" fmla="*/ 2184 w 4425"/>
                <a:gd name="T51" fmla="*/ 3993 h 4627"/>
                <a:gd name="T52" fmla="*/ 2421 w 4425"/>
                <a:gd name="T53" fmla="*/ 4188 h 4627"/>
                <a:gd name="T54" fmla="*/ 2316 w 4425"/>
                <a:gd name="T55" fmla="*/ 4487 h 4627"/>
                <a:gd name="T56" fmla="*/ 2476 w 4425"/>
                <a:gd name="T57" fmla="*/ 4626 h 4627"/>
                <a:gd name="T58" fmla="*/ 2615 w 4425"/>
                <a:gd name="T59" fmla="*/ 4501 h 4627"/>
                <a:gd name="T60" fmla="*/ 2970 w 4425"/>
                <a:gd name="T61" fmla="*/ 4459 h 4627"/>
                <a:gd name="T62" fmla="*/ 3109 w 4425"/>
                <a:gd name="T63" fmla="*/ 4299 h 4627"/>
                <a:gd name="T64" fmla="*/ 3179 w 4425"/>
                <a:gd name="T65" fmla="*/ 4195 h 4627"/>
                <a:gd name="T66" fmla="*/ 3339 w 4425"/>
                <a:gd name="T67" fmla="*/ 4090 h 4627"/>
                <a:gd name="T68" fmla="*/ 3492 w 4425"/>
                <a:gd name="T69" fmla="*/ 4007 h 4627"/>
                <a:gd name="T70" fmla="*/ 3513 w 4425"/>
                <a:gd name="T71" fmla="*/ 3791 h 4627"/>
                <a:gd name="T72" fmla="*/ 3443 w 4425"/>
                <a:gd name="T73" fmla="*/ 3617 h 4627"/>
                <a:gd name="T74" fmla="*/ 3631 w 4425"/>
                <a:gd name="T75" fmla="*/ 3576 h 4627"/>
                <a:gd name="T76" fmla="*/ 3728 w 4425"/>
                <a:gd name="T77" fmla="*/ 3443 h 4627"/>
                <a:gd name="T78" fmla="*/ 3784 w 4425"/>
                <a:gd name="T79" fmla="*/ 3109 h 4627"/>
                <a:gd name="T80" fmla="*/ 3687 w 4425"/>
                <a:gd name="T81" fmla="*/ 2915 h 4627"/>
                <a:gd name="T82" fmla="*/ 3902 w 4425"/>
                <a:gd name="T83" fmla="*/ 2685 h 4627"/>
                <a:gd name="T84" fmla="*/ 4181 w 4425"/>
                <a:gd name="T85" fmla="*/ 2588 h 4627"/>
                <a:gd name="T86" fmla="*/ 4035 w 4425"/>
                <a:gd name="T87" fmla="*/ 2483 h 4627"/>
                <a:gd name="T88" fmla="*/ 3854 w 4425"/>
                <a:gd name="T89" fmla="*/ 2323 h 4627"/>
                <a:gd name="T90" fmla="*/ 4048 w 4425"/>
                <a:gd name="T91" fmla="*/ 2184 h 4627"/>
                <a:gd name="T92" fmla="*/ 4090 w 4425"/>
                <a:gd name="T93" fmla="*/ 1990 h 4627"/>
                <a:gd name="T94" fmla="*/ 4215 w 4425"/>
                <a:gd name="T95" fmla="*/ 1732 h 4627"/>
                <a:gd name="T96" fmla="*/ 4361 w 4425"/>
                <a:gd name="T97" fmla="*/ 1677 h 4627"/>
                <a:gd name="T98" fmla="*/ 4278 w 4425"/>
                <a:gd name="T99" fmla="*/ 1551 h 4627"/>
                <a:gd name="T100" fmla="*/ 4083 w 4425"/>
                <a:gd name="T101" fmla="*/ 1565 h 4627"/>
                <a:gd name="T102" fmla="*/ 3833 w 4425"/>
                <a:gd name="T103" fmla="*/ 1565 h 4627"/>
                <a:gd name="T104" fmla="*/ 3603 w 4425"/>
                <a:gd name="T105" fmla="*/ 1447 h 4627"/>
                <a:gd name="T106" fmla="*/ 3339 w 4425"/>
                <a:gd name="T107" fmla="*/ 1308 h 4627"/>
                <a:gd name="T108" fmla="*/ 3228 w 4425"/>
                <a:gd name="T109" fmla="*/ 1050 h 4627"/>
                <a:gd name="T110" fmla="*/ 3367 w 4425"/>
                <a:gd name="T111" fmla="*/ 856 h 4627"/>
                <a:gd name="T112" fmla="*/ 3248 w 4425"/>
                <a:gd name="T113" fmla="*/ 807 h 4627"/>
                <a:gd name="T114" fmla="*/ 3179 w 4425"/>
                <a:gd name="T115" fmla="*/ 724 h 4627"/>
                <a:gd name="T116" fmla="*/ 3019 w 4425"/>
                <a:gd name="T117" fmla="*/ 696 h 4627"/>
                <a:gd name="T118" fmla="*/ 2866 w 4425"/>
                <a:gd name="T119" fmla="*/ 522 h 4627"/>
                <a:gd name="T120" fmla="*/ 2650 w 4425"/>
                <a:gd name="T121" fmla="*/ 661 h 4627"/>
                <a:gd name="T122" fmla="*/ 2594 w 4425"/>
                <a:gd name="T123" fmla="*/ 814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5" h="4627">
                  <a:moveTo>
                    <a:pt x="2490" y="821"/>
                  </a:moveTo>
                  <a:lnTo>
                    <a:pt x="2483" y="814"/>
                  </a:lnTo>
                  <a:lnTo>
                    <a:pt x="2379" y="793"/>
                  </a:lnTo>
                  <a:lnTo>
                    <a:pt x="2323" y="828"/>
                  </a:lnTo>
                  <a:lnTo>
                    <a:pt x="2316" y="842"/>
                  </a:lnTo>
                  <a:lnTo>
                    <a:pt x="2247" y="842"/>
                  </a:lnTo>
                  <a:lnTo>
                    <a:pt x="2219" y="828"/>
                  </a:lnTo>
                  <a:lnTo>
                    <a:pt x="2170" y="807"/>
                  </a:lnTo>
                  <a:lnTo>
                    <a:pt x="2191" y="751"/>
                  </a:lnTo>
                  <a:lnTo>
                    <a:pt x="2170" y="730"/>
                  </a:lnTo>
                  <a:lnTo>
                    <a:pt x="2115" y="807"/>
                  </a:lnTo>
                  <a:lnTo>
                    <a:pt x="2031" y="904"/>
                  </a:lnTo>
                  <a:lnTo>
                    <a:pt x="2003" y="904"/>
                  </a:lnTo>
                  <a:lnTo>
                    <a:pt x="2003" y="863"/>
                  </a:lnTo>
                  <a:lnTo>
                    <a:pt x="1968" y="821"/>
                  </a:lnTo>
                  <a:lnTo>
                    <a:pt x="1940" y="821"/>
                  </a:lnTo>
                  <a:lnTo>
                    <a:pt x="1927" y="821"/>
                  </a:lnTo>
                  <a:lnTo>
                    <a:pt x="1899" y="793"/>
                  </a:lnTo>
                  <a:lnTo>
                    <a:pt x="1864" y="786"/>
                  </a:lnTo>
                  <a:lnTo>
                    <a:pt x="1801" y="751"/>
                  </a:lnTo>
                  <a:lnTo>
                    <a:pt x="1767" y="710"/>
                  </a:lnTo>
                  <a:lnTo>
                    <a:pt x="1690" y="696"/>
                  </a:lnTo>
                  <a:lnTo>
                    <a:pt x="1634" y="696"/>
                  </a:lnTo>
                  <a:lnTo>
                    <a:pt x="1579" y="696"/>
                  </a:lnTo>
                  <a:lnTo>
                    <a:pt x="1544" y="724"/>
                  </a:lnTo>
                  <a:lnTo>
                    <a:pt x="1544" y="765"/>
                  </a:lnTo>
                  <a:lnTo>
                    <a:pt x="1544" y="779"/>
                  </a:lnTo>
                  <a:lnTo>
                    <a:pt x="1523" y="779"/>
                  </a:lnTo>
                  <a:lnTo>
                    <a:pt x="1474" y="779"/>
                  </a:lnTo>
                  <a:lnTo>
                    <a:pt x="1474" y="758"/>
                  </a:lnTo>
                  <a:lnTo>
                    <a:pt x="1384" y="696"/>
                  </a:lnTo>
                  <a:lnTo>
                    <a:pt x="1377" y="682"/>
                  </a:lnTo>
                  <a:lnTo>
                    <a:pt x="1377" y="654"/>
                  </a:lnTo>
                  <a:lnTo>
                    <a:pt x="1349" y="626"/>
                  </a:lnTo>
                  <a:lnTo>
                    <a:pt x="1328" y="612"/>
                  </a:lnTo>
                  <a:lnTo>
                    <a:pt x="1335" y="564"/>
                  </a:lnTo>
                  <a:lnTo>
                    <a:pt x="1294" y="536"/>
                  </a:lnTo>
                  <a:lnTo>
                    <a:pt x="1238" y="536"/>
                  </a:lnTo>
                  <a:lnTo>
                    <a:pt x="1203" y="522"/>
                  </a:lnTo>
                  <a:lnTo>
                    <a:pt x="1182" y="494"/>
                  </a:lnTo>
                  <a:lnTo>
                    <a:pt x="1141" y="459"/>
                  </a:lnTo>
                  <a:lnTo>
                    <a:pt x="1099" y="445"/>
                  </a:lnTo>
                  <a:lnTo>
                    <a:pt x="1008" y="403"/>
                  </a:lnTo>
                  <a:lnTo>
                    <a:pt x="939" y="452"/>
                  </a:lnTo>
                  <a:lnTo>
                    <a:pt x="904" y="397"/>
                  </a:lnTo>
                  <a:lnTo>
                    <a:pt x="876" y="369"/>
                  </a:lnTo>
                  <a:lnTo>
                    <a:pt x="848" y="355"/>
                  </a:lnTo>
                  <a:lnTo>
                    <a:pt x="841" y="348"/>
                  </a:lnTo>
                  <a:lnTo>
                    <a:pt x="834" y="334"/>
                  </a:lnTo>
                  <a:lnTo>
                    <a:pt x="786" y="299"/>
                  </a:lnTo>
                  <a:lnTo>
                    <a:pt x="751" y="264"/>
                  </a:lnTo>
                  <a:lnTo>
                    <a:pt x="681" y="271"/>
                  </a:lnTo>
                  <a:lnTo>
                    <a:pt x="647" y="257"/>
                  </a:lnTo>
                  <a:lnTo>
                    <a:pt x="598" y="223"/>
                  </a:lnTo>
                  <a:lnTo>
                    <a:pt x="542" y="195"/>
                  </a:lnTo>
                  <a:lnTo>
                    <a:pt x="493" y="153"/>
                  </a:lnTo>
                  <a:lnTo>
                    <a:pt x="521" y="76"/>
                  </a:lnTo>
                  <a:lnTo>
                    <a:pt x="493" y="63"/>
                  </a:lnTo>
                  <a:lnTo>
                    <a:pt x="466" y="42"/>
                  </a:lnTo>
                  <a:lnTo>
                    <a:pt x="466" y="28"/>
                  </a:lnTo>
                  <a:lnTo>
                    <a:pt x="382" y="0"/>
                  </a:lnTo>
                  <a:lnTo>
                    <a:pt x="347" y="0"/>
                  </a:lnTo>
                  <a:lnTo>
                    <a:pt x="222" y="7"/>
                  </a:lnTo>
                  <a:lnTo>
                    <a:pt x="215" y="42"/>
                  </a:lnTo>
                  <a:lnTo>
                    <a:pt x="118" y="153"/>
                  </a:lnTo>
                  <a:lnTo>
                    <a:pt x="118" y="188"/>
                  </a:lnTo>
                  <a:lnTo>
                    <a:pt x="97" y="188"/>
                  </a:lnTo>
                  <a:lnTo>
                    <a:pt x="90" y="202"/>
                  </a:lnTo>
                  <a:lnTo>
                    <a:pt x="62" y="202"/>
                  </a:lnTo>
                  <a:lnTo>
                    <a:pt x="0" y="230"/>
                  </a:lnTo>
                  <a:lnTo>
                    <a:pt x="34" y="237"/>
                  </a:lnTo>
                  <a:lnTo>
                    <a:pt x="69" y="320"/>
                  </a:lnTo>
                  <a:lnTo>
                    <a:pt x="118" y="348"/>
                  </a:lnTo>
                  <a:lnTo>
                    <a:pt x="160" y="390"/>
                  </a:lnTo>
                  <a:lnTo>
                    <a:pt x="201" y="417"/>
                  </a:lnTo>
                  <a:lnTo>
                    <a:pt x="215" y="417"/>
                  </a:lnTo>
                  <a:lnTo>
                    <a:pt x="222" y="424"/>
                  </a:lnTo>
                  <a:lnTo>
                    <a:pt x="278" y="452"/>
                  </a:lnTo>
                  <a:lnTo>
                    <a:pt x="292" y="536"/>
                  </a:lnTo>
                  <a:lnTo>
                    <a:pt x="313" y="549"/>
                  </a:lnTo>
                  <a:lnTo>
                    <a:pt x="285" y="612"/>
                  </a:lnTo>
                  <a:lnTo>
                    <a:pt x="292" y="647"/>
                  </a:lnTo>
                  <a:lnTo>
                    <a:pt x="326" y="591"/>
                  </a:lnTo>
                  <a:lnTo>
                    <a:pt x="333" y="584"/>
                  </a:lnTo>
                  <a:lnTo>
                    <a:pt x="361" y="577"/>
                  </a:lnTo>
                  <a:lnTo>
                    <a:pt x="389" y="598"/>
                  </a:lnTo>
                  <a:lnTo>
                    <a:pt x="410" y="612"/>
                  </a:lnTo>
                  <a:lnTo>
                    <a:pt x="396" y="612"/>
                  </a:lnTo>
                  <a:lnTo>
                    <a:pt x="347" y="661"/>
                  </a:lnTo>
                  <a:lnTo>
                    <a:pt x="347" y="682"/>
                  </a:lnTo>
                  <a:lnTo>
                    <a:pt x="396" y="675"/>
                  </a:lnTo>
                  <a:lnTo>
                    <a:pt x="452" y="675"/>
                  </a:lnTo>
                  <a:lnTo>
                    <a:pt x="480" y="689"/>
                  </a:lnTo>
                  <a:lnTo>
                    <a:pt x="487" y="765"/>
                  </a:lnTo>
                  <a:lnTo>
                    <a:pt x="507" y="793"/>
                  </a:lnTo>
                  <a:lnTo>
                    <a:pt x="487" y="828"/>
                  </a:lnTo>
                  <a:lnTo>
                    <a:pt x="507" y="842"/>
                  </a:lnTo>
                  <a:lnTo>
                    <a:pt x="542" y="779"/>
                  </a:lnTo>
                  <a:lnTo>
                    <a:pt x="591" y="786"/>
                  </a:lnTo>
                  <a:lnTo>
                    <a:pt x="626" y="821"/>
                  </a:lnTo>
                  <a:lnTo>
                    <a:pt x="626" y="849"/>
                  </a:lnTo>
                  <a:lnTo>
                    <a:pt x="563" y="904"/>
                  </a:lnTo>
                  <a:lnTo>
                    <a:pt x="549" y="939"/>
                  </a:lnTo>
                  <a:lnTo>
                    <a:pt x="549" y="946"/>
                  </a:lnTo>
                  <a:lnTo>
                    <a:pt x="619" y="974"/>
                  </a:lnTo>
                  <a:lnTo>
                    <a:pt x="744" y="1078"/>
                  </a:lnTo>
                  <a:lnTo>
                    <a:pt x="751" y="1092"/>
                  </a:lnTo>
                  <a:lnTo>
                    <a:pt x="814" y="1169"/>
                  </a:lnTo>
                  <a:lnTo>
                    <a:pt x="869" y="1238"/>
                  </a:lnTo>
                  <a:lnTo>
                    <a:pt x="890" y="1287"/>
                  </a:lnTo>
                  <a:lnTo>
                    <a:pt x="918" y="1343"/>
                  </a:lnTo>
                  <a:lnTo>
                    <a:pt x="946" y="1447"/>
                  </a:lnTo>
                  <a:lnTo>
                    <a:pt x="953" y="1516"/>
                  </a:lnTo>
                  <a:lnTo>
                    <a:pt x="966" y="1579"/>
                  </a:lnTo>
                  <a:lnTo>
                    <a:pt x="981" y="1725"/>
                  </a:lnTo>
                  <a:lnTo>
                    <a:pt x="966" y="1739"/>
                  </a:lnTo>
                  <a:lnTo>
                    <a:pt x="1008" y="1962"/>
                  </a:lnTo>
                  <a:lnTo>
                    <a:pt x="1008" y="2010"/>
                  </a:lnTo>
                  <a:lnTo>
                    <a:pt x="1015" y="2066"/>
                  </a:lnTo>
                  <a:lnTo>
                    <a:pt x="1043" y="2136"/>
                  </a:lnTo>
                  <a:lnTo>
                    <a:pt x="1064" y="2191"/>
                  </a:lnTo>
                  <a:lnTo>
                    <a:pt x="1099" y="2219"/>
                  </a:lnTo>
                  <a:lnTo>
                    <a:pt x="1141" y="2254"/>
                  </a:lnTo>
                  <a:lnTo>
                    <a:pt x="1182" y="2337"/>
                  </a:lnTo>
                  <a:lnTo>
                    <a:pt x="1196" y="2351"/>
                  </a:lnTo>
                  <a:lnTo>
                    <a:pt x="1217" y="2365"/>
                  </a:lnTo>
                  <a:lnTo>
                    <a:pt x="1273" y="2497"/>
                  </a:lnTo>
                  <a:lnTo>
                    <a:pt x="1280" y="2532"/>
                  </a:lnTo>
                  <a:lnTo>
                    <a:pt x="1335" y="2588"/>
                  </a:lnTo>
                  <a:lnTo>
                    <a:pt x="1363" y="2630"/>
                  </a:lnTo>
                  <a:lnTo>
                    <a:pt x="1384" y="2720"/>
                  </a:lnTo>
                  <a:lnTo>
                    <a:pt x="1405" y="2984"/>
                  </a:lnTo>
                  <a:lnTo>
                    <a:pt x="1370" y="3193"/>
                  </a:lnTo>
                  <a:lnTo>
                    <a:pt x="1363" y="3193"/>
                  </a:lnTo>
                  <a:lnTo>
                    <a:pt x="1363" y="3235"/>
                  </a:lnTo>
                  <a:lnTo>
                    <a:pt x="1328" y="3249"/>
                  </a:lnTo>
                  <a:lnTo>
                    <a:pt x="1314" y="3290"/>
                  </a:lnTo>
                  <a:lnTo>
                    <a:pt x="1342" y="3381"/>
                  </a:lnTo>
                  <a:lnTo>
                    <a:pt x="1370" y="3388"/>
                  </a:lnTo>
                  <a:lnTo>
                    <a:pt x="1405" y="3409"/>
                  </a:lnTo>
                  <a:lnTo>
                    <a:pt x="1405" y="3367"/>
                  </a:lnTo>
                  <a:lnTo>
                    <a:pt x="1447" y="3339"/>
                  </a:lnTo>
                  <a:lnTo>
                    <a:pt x="1600" y="3339"/>
                  </a:lnTo>
                  <a:lnTo>
                    <a:pt x="1739" y="3388"/>
                  </a:lnTo>
                  <a:lnTo>
                    <a:pt x="1787" y="3423"/>
                  </a:lnTo>
                  <a:lnTo>
                    <a:pt x="1801" y="3485"/>
                  </a:lnTo>
                  <a:lnTo>
                    <a:pt x="1787" y="3541"/>
                  </a:lnTo>
                  <a:lnTo>
                    <a:pt x="1794" y="3576"/>
                  </a:lnTo>
                  <a:lnTo>
                    <a:pt x="1773" y="3638"/>
                  </a:lnTo>
                  <a:lnTo>
                    <a:pt x="1739" y="3652"/>
                  </a:lnTo>
                  <a:lnTo>
                    <a:pt x="1711" y="3666"/>
                  </a:lnTo>
                  <a:lnTo>
                    <a:pt x="1822" y="3729"/>
                  </a:lnTo>
                  <a:lnTo>
                    <a:pt x="1989" y="3763"/>
                  </a:lnTo>
                  <a:lnTo>
                    <a:pt x="2121" y="3833"/>
                  </a:lnTo>
                  <a:lnTo>
                    <a:pt x="2163" y="3930"/>
                  </a:lnTo>
                  <a:lnTo>
                    <a:pt x="2184" y="3993"/>
                  </a:lnTo>
                  <a:lnTo>
                    <a:pt x="2309" y="4042"/>
                  </a:lnTo>
                  <a:lnTo>
                    <a:pt x="2295" y="4070"/>
                  </a:lnTo>
                  <a:lnTo>
                    <a:pt x="2330" y="4111"/>
                  </a:lnTo>
                  <a:lnTo>
                    <a:pt x="2358" y="4188"/>
                  </a:lnTo>
                  <a:lnTo>
                    <a:pt x="2386" y="4202"/>
                  </a:lnTo>
                  <a:lnTo>
                    <a:pt x="2421" y="4188"/>
                  </a:lnTo>
                  <a:lnTo>
                    <a:pt x="2476" y="4292"/>
                  </a:lnTo>
                  <a:lnTo>
                    <a:pt x="2462" y="4424"/>
                  </a:lnTo>
                  <a:lnTo>
                    <a:pt x="2421" y="4466"/>
                  </a:lnTo>
                  <a:lnTo>
                    <a:pt x="2379" y="4459"/>
                  </a:lnTo>
                  <a:lnTo>
                    <a:pt x="2330" y="4438"/>
                  </a:lnTo>
                  <a:lnTo>
                    <a:pt x="2316" y="4487"/>
                  </a:lnTo>
                  <a:lnTo>
                    <a:pt x="2316" y="4515"/>
                  </a:lnTo>
                  <a:lnTo>
                    <a:pt x="2323" y="4556"/>
                  </a:lnTo>
                  <a:lnTo>
                    <a:pt x="2393" y="4591"/>
                  </a:lnTo>
                  <a:lnTo>
                    <a:pt x="2413" y="4626"/>
                  </a:lnTo>
                  <a:lnTo>
                    <a:pt x="2427" y="4619"/>
                  </a:lnTo>
                  <a:lnTo>
                    <a:pt x="2476" y="4626"/>
                  </a:lnTo>
                  <a:lnTo>
                    <a:pt x="2476" y="4612"/>
                  </a:lnTo>
                  <a:lnTo>
                    <a:pt x="2511" y="4570"/>
                  </a:lnTo>
                  <a:lnTo>
                    <a:pt x="2497" y="4556"/>
                  </a:lnTo>
                  <a:lnTo>
                    <a:pt x="2497" y="4536"/>
                  </a:lnTo>
                  <a:lnTo>
                    <a:pt x="2518" y="4522"/>
                  </a:lnTo>
                  <a:lnTo>
                    <a:pt x="2615" y="4501"/>
                  </a:lnTo>
                  <a:lnTo>
                    <a:pt x="2643" y="4536"/>
                  </a:lnTo>
                  <a:lnTo>
                    <a:pt x="2685" y="4529"/>
                  </a:lnTo>
                  <a:lnTo>
                    <a:pt x="2907" y="4591"/>
                  </a:lnTo>
                  <a:lnTo>
                    <a:pt x="2914" y="4536"/>
                  </a:lnTo>
                  <a:lnTo>
                    <a:pt x="2956" y="4494"/>
                  </a:lnTo>
                  <a:lnTo>
                    <a:pt x="2970" y="4459"/>
                  </a:lnTo>
                  <a:lnTo>
                    <a:pt x="3019" y="4466"/>
                  </a:lnTo>
                  <a:lnTo>
                    <a:pt x="3068" y="4459"/>
                  </a:lnTo>
                  <a:lnTo>
                    <a:pt x="3179" y="4466"/>
                  </a:lnTo>
                  <a:lnTo>
                    <a:pt x="3179" y="4355"/>
                  </a:lnTo>
                  <a:lnTo>
                    <a:pt x="3130" y="4327"/>
                  </a:lnTo>
                  <a:lnTo>
                    <a:pt x="3109" y="4299"/>
                  </a:lnTo>
                  <a:lnTo>
                    <a:pt x="3095" y="4285"/>
                  </a:lnTo>
                  <a:lnTo>
                    <a:pt x="3130" y="4230"/>
                  </a:lnTo>
                  <a:lnTo>
                    <a:pt x="3130" y="4222"/>
                  </a:lnTo>
                  <a:lnTo>
                    <a:pt x="3116" y="4188"/>
                  </a:lnTo>
                  <a:lnTo>
                    <a:pt x="3151" y="4174"/>
                  </a:lnTo>
                  <a:lnTo>
                    <a:pt x="3179" y="4195"/>
                  </a:lnTo>
                  <a:lnTo>
                    <a:pt x="3207" y="4174"/>
                  </a:lnTo>
                  <a:lnTo>
                    <a:pt x="3234" y="4174"/>
                  </a:lnTo>
                  <a:lnTo>
                    <a:pt x="3262" y="4160"/>
                  </a:lnTo>
                  <a:lnTo>
                    <a:pt x="3297" y="4132"/>
                  </a:lnTo>
                  <a:lnTo>
                    <a:pt x="3283" y="4111"/>
                  </a:lnTo>
                  <a:lnTo>
                    <a:pt x="3339" y="4090"/>
                  </a:lnTo>
                  <a:lnTo>
                    <a:pt x="3374" y="4090"/>
                  </a:lnTo>
                  <a:lnTo>
                    <a:pt x="3401" y="4035"/>
                  </a:lnTo>
                  <a:lnTo>
                    <a:pt x="3408" y="4021"/>
                  </a:lnTo>
                  <a:lnTo>
                    <a:pt x="3457" y="4035"/>
                  </a:lnTo>
                  <a:lnTo>
                    <a:pt x="3478" y="4021"/>
                  </a:lnTo>
                  <a:lnTo>
                    <a:pt x="3492" y="4007"/>
                  </a:lnTo>
                  <a:lnTo>
                    <a:pt x="3492" y="3958"/>
                  </a:lnTo>
                  <a:lnTo>
                    <a:pt x="3457" y="3937"/>
                  </a:lnTo>
                  <a:lnTo>
                    <a:pt x="3443" y="3868"/>
                  </a:lnTo>
                  <a:lnTo>
                    <a:pt x="3478" y="3868"/>
                  </a:lnTo>
                  <a:lnTo>
                    <a:pt x="3499" y="3812"/>
                  </a:lnTo>
                  <a:lnTo>
                    <a:pt x="3513" y="3791"/>
                  </a:lnTo>
                  <a:lnTo>
                    <a:pt x="3457" y="3763"/>
                  </a:lnTo>
                  <a:lnTo>
                    <a:pt x="3457" y="3743"/>
                  </a:lnTo>
                  <a:lnTo>
                    <a:pt x="3422" y="3715"/>
                  </a:lnTo>
                  <a:lnTo>
                    <a:pt x="3394" y="3701"/>
                  </a:lnTo>
                  <a:lnTo>
                    <a:pt x="3429" y="3631"/>
                  </a:lnTo>
                  <a:lnTo>
                    <a:pt x="3443" y="3617"/>
                  </a:lnTo>
                  <a:lnTo>
                    <a:pt x="3492" y="3680"/>
                  </a:lnTo>
                  <a:lnTo>
                    <a:pt x="3499" y="3652"/>
                  </a:lnTo>
                  <a:lnTo>
                    <a:pt x="3513" y="3610"/>
                  </a:lnTo>
                  <a:lnTo>
                    <a:pt x="3568" y="3582"/>
                  </a:lnTo>
                  <a:lnTo>
                    <a:pt x="3638" y="3597"/>
                  </a:lnTo>
                  <a:lnTo>
                    <a:pt x="3631" y="3576"/>
                  </a:lnTo>
                  <a:lnTo>
                    <a:pt x="3652" y="3569"/>
                  </a:lnTo>
                  <a:lnTo>
                    <a:pt x="3700" y="3513"/>
                  </a:lnTo>
                  <a:lnTo>
                    <a:pt x="3742" y="3520"/>
                  </a:lnTo>
                  <a:lnTo>
                    <a:pt x="3742" y="3506"/>
                  </a:lnTo>
                  <a:lnTo>
                    <a:pt x="3742" y="3471"/>
                  </a:lnTo>
                  <a:lnTo>
                    <a:pt x="3728" y="3443"/>
                  </a:lnTo>
                  <a:lnTo>
                    <a:pt x="3700" y="3436"/>
                  </a:lnTo>
                  <a:lnTo>
                    <a:pt x="3728" y="3353"/>
                  </a:lnTo>
                  <a:lnTo>
                    <a:pt x="3728" y="3276"/>
                  </a:lnTo>
                  <a:lnTo>
                    <a:pt x="3756" y="3193"/>
                  </a:lnTo>
                  <a:lnTo>
                    <a:pt x="3763" y="3186"/>
                  </a:lnTo>
                  <a:lnTo>
                    <a:pt x="3784" y="3109"/>
                  </a:lnTo>
                  <a:lnTo>
                    <a:pt x="3735" y="3082"/>
                  </a:lnTo>
                  <a:lnTo>
                    <a:pt x="3708" y="3109"/>
                  </a:lnTo>
                  <a:lnTo>
                    <a:pt x="3687" y="3061"/>
                  </a:lnTo>
                  <a:lnTo>
                    <a:pt x="3693" y="3040"/>
                  </a:lnTo>
                  <a:lnTo>
                    <a:pt x="3673" y="2957"/>
                  </a:lnTo>
                  <a:lnTo>
                    <a:pt x="3687" y="2915"/>
                  </a:lnTo>
                  <a:lnTo>
                    <a:pt x="3742" y="2859"/>
                  </a:lnTo>
                  <a:lnTo>
                    <a:pt x="3805" y="2831"/>
                  </a:lnTo>
                  <a:lnTo>
                    <a:pt x="3840" y="2824"/>
                  </a:lnTo>
                  <a:lnTo>
                    <a:pt x="3881" y="2720"/>
                  </a:lnTo>
                  <a:lnTo>
                    <a:pt x="3881" y="2685"/>
                  </a:lnTo>
                  <a:lnTo>
                    <a:pt x="3902" y="2685"/>
                  </a:lnTo>
                  <a:lnTo>
                    <a:pt x="3965" y="2713"/>
                  </a:lnTo>
                  <a:lnTo>
                    <a:pt x="4021" y="2678"/>
                  </a:lnTo>
                  <a:lnTo>
                    <a:pt x="4062" y="2664"/>
                  </a:lnTo>
                  <a:lnTo>
                    <a:pt x="4146" y="2616"/>
                  </a:lnTo>
                  <a:lnTo>
                    <a:pt x="4153" y="2616"/>
                  </a:lnTo>
                  <a:lnTo>
                    <a:pt x="4181" y="2588"/>
                  </a:lnTo>
                  <a:lnTo>
                    <a:pt x="4132" y="2546"/>
                  </a:lnTo>
                  <a:lnTo>
                    <a:pt x="4118" y="2567"/>
                  </a:lnTo>
                  <a:lnTo>
                    <a:pt x="4097" y="2616"/>
                  </a:lnTo>
                  <a:lnTo>
                    <a:pt x="4035" y="2588"/>
                  </a:lnTo>
                  <a:lnTo>
                    <a:pt x="4021" y="2553"/>
                  </a:lnTo>
                  <a:lnTo>
                    <a:pt x="4035" y="2483"/>
                  </a:lnTo>
                  <a:lnTo>
                    <a:pt x="3986" y="2421"/>
                  </a:lnTo>
                  <a:lnTo>
                    <a:pt x="3937" y="2428"/>
                  </a:lnTo>
                  <a:lnTo>
                    <a:pt x="3930" y="2351"/>
                  </a:lnTo>
                  <a:lnTo>
                    <a:pt x="3916" y="2351"/>
                  </a:lnTo>
                  <a:lnTo>
                    <a:pt x="3860" y="2351"/>
                  </a:lnTo>
                  <a:lnTo>
                    <a:pt x="3854" y="2323"/>
                  </a:lnTo>
                  <a:lnTo>
                    <a:pt x="3902" y="2275"/>
                  </a:lnTo>
                  <a:lnTo>
                    <a:pt x="3958" y="2268"/>
                  </a:lnTo>
                  <a:lnTo>
                    <a:pt x="3972" y="2240"/>
                  </a:lnTo>
                  <a:lnTo>
                    <a:pt x="4027" y="2198"/>
                  </a:lnTo>
                  <a:lnTo>
                    <a:pt x="4048" y="2198"/>
                  </a:lnTo>
                  <a:lnTo>
                    <a:pt x="4048" y="2184"/>
                  </a:lnTo>
                  <a:lnTo>
                    <a:pt x="4027" y="2163"/>
                  </a:lnTo>
                  <a:lnTo>
                    <a:pt x="3958" y="2122"/>
                  </a:lnTo>
                  <a:lnTo>
                    <a:pt x="3986" y="2066"/>
                  </a:lnTo>
                  <a:lnTo>
                    <a:pt x="4048" y="2066"/>
                  </a:lnTo>
                  <a:lnTo>
                    <a:pt x="4062" y="2073"/>
                  </a:lnTo>
                  <a:lnTo>
                    <a:pt x="4090" y="1990"/>
                  </a:lnTo>
                  <a:lnTo>
                    <a:pt x="4160" y="1892"/>
                  </a:lnTo>
                  <a:lnTo>
                    <a:pt x="4118" y="1829"/>
                  </a:lnTo>
                  <a:lnTo>
                    <a:pt x="4132" y="1823"/>
                  </a:lnTo>
                  <a:lnTo>
                    <a:pt x="4160" y="1809"/>
                  </a:lnTo>
                  <a:lnTo>
                    <a:pt x="4215" y="1774"/>
                  </a:lnTo>
                  <a:lnTo>
                    <a:pt x="4215" y="1732"/>
                  </a:lnTo>
                  <a:lnTo>
                    <a:pt x="4285" y="1739"/>
                  </a:lnTo>
                  <a:lnTo>
                    <a:pt x="4313" y="1697"/>
                  </a:lnTo>
                  <a:lnTo>
                    <a:pt x="4327" y="1697"/>
                  </a:lnTo>
                  <a:lnTo>
                    <a:pt x="4327" y="1739"/>
                  </a:lnTo>
                  <a:lnTo>
                    <a:pt x="4361" y="1739"/>
                  </a:lnTo>
                  <a:lnTo>
                    <a:pt x="4361" y="1677"/>
                  </a:lnTo>
                  <a:lnTo>
                    <a:pt x="4389" y="1683"/>
                  </a:lnTo>
                  <a:lnTo>
                    <a:pt x="4424" y="1677"/>
                  </a:lnTo>
                  <a:lnTo>
                    <a:pt x="4361" y="1614"/>
                  </a:lnTo>
                  <a:lnTo>
                    <a:pt x="4354" y="1600"/>
                  </a:lnTo>
                  <a:lnTo>
                    <a:pt x="4313" y="1572"/>
                  </a:lnTo>
                  <a:lnTo>
                    <a:pt x="4278" y="1551"/>
                  </a:lnTo>
                  <a:lnTo>
                    <a:pt x="4229" y="1565"/>
                  </a:lnTo>
                  <a:lnTo>
                    <a:pt x="4229" y="1579"/>
                  </a:lnTo>
                  <a:lnTo>
                    <a:pt x="4167" y="1572"/>
                  </a:lnTo>
                  <a:lnTo>
                    <a:pt x="4132" y="1600"/>
                  </a:lnTo>
                  <a:lnTo>
                    <a:pt x="4125" y="1628"/>
                  </a:lnTo>
                  <a:lnTo>
                    <a:pt x="4083" y="1565"/>
                  </a:lnTo>
                  <a:lnTo>
                    <a:pt x="4035" y="1579"/>
                  </a:lnTo>
                  <a:lnTo>
                    <a:pt x="3986" y="1579"/>
                  </a:lnTo>
                  <a:lnTo>
                    <a:pt x="3930" y="1607"/>
                  </a:lnTo>
                  <a:lnTo>
                    <a:pt x="3916" y="1593"/>
                  </a:lnTo>
                  <a:lnTo>
                    <a:pt x="3881" y="1572"/>
                  </a:lnTo>
                  <a:lnTo>
                    <a:pt x="3833" y="1565"/>
                  </a:lnTo>
                  <a:lnTo>
                    <a:pt x="3791" y="1565"/>
                  </a:lnTo>
                  <a:lnTo>
                    <a:pt x="3728" y="1510"/>
                  </a:lnTo>
                  <a:lnTo>
                    <a:pt x="3673" y="1482"/>
                  </a:lnTo>
                  <a:lnTo>
                    <a:pt x="3673" y="1454"/>
                  </a:lnTo>
                  <a:lnTo>
                    <a:pt x="3652" y="1454"/>
                  </a:lnTo>
                  <a:lnTo>
                    <a:pt x="3603" y="1447"/>
                  </a:lnTo>
                  <a:lnTo>
                    <a:pt x="3561" y="1454"/>
                  </a:lnTo>
                  <a:lnTo>
                    <a:pt x="3554" y="1454"/>
                  </a:lnTo>
                  <a:lnTo>
                    <a:pt x="3499" y="1412"/>
                  </a:lnTo>
                  <a:lnTo>
                    <a:pt x="3464" y="1377"/>
                  </a:lnTo>
                  <a:lnTo>
                    <a:pt x="3422" y="1364"/>
                  </a:lnTo>
                  <a:lnTo>
                    <a:pt x="3339" y="1308"/>
                  </a:lnTo>
                  <a:lnTo>
                    <a:pt x="3339" y="1252"/>
                  </a:lnTo>
                  <a:lnTo>
                    <a:pt x="3339" y="1210"/>
                  </a:lnTo>
                  <a:lnTo>
                    <a:pt x="3283" y="1176"/>
                  </a:lnTo>
                  <a:lnTo>
                    <a:pt x="3304" y="1141"/>
                  </a:lnTo>
                  <a:lnTo>
                    <a:pt x="3248" y="1092"/>
                  </a:lnTo>
                  <a:lnTo>
                    <a:pt x="3228" y="1050"/>
                  </a:lnTo>
                  <a:lnTo>
                    <a:pt x="3234" y="1037"/>
                  </a:lnTo>
                  <a:lnTo>
                    <a:pt x="3248" y="1037"/>
                  </a:lnTo>
                  <a:lnTo>
                    <a:pt x="3241" y="995"/>
                  </a:lnTo>
                  <a:lnTo>
                    <a:pt x="3283" y="988"/>
                  </a:lnTo>
                  <a:lnTo>
                    <a:pt x="3311" y="939"/>
                  </a:lnTo>
                  <a:lnTo>
                    <a:pt x="3367" y="856"/>
                  </a:lnTo>
                  <a:lnTo>
                    <a:pt x="3401" y="786"/>
                  </a:lnTo>
                  <a:lnTo>
                    <a:pt x="3401" y="779"/>
                  </a:lnTo>
                  <a:lnTo>
                    <a:pt x="3394" y="765"/>
                  </a:lnTo>
                  <a:lnTo>
                    <a:pt x="3339" y="765"/>
                  </a:lnTo>
                  <a:lnTo>
                    <a:pt x="3297" y="765"/>
                  </a:lnTo>
                  <a:lnTo>
                    <a:pt x="3248" y="807"/>
                  </a:lnTo>
                  <a:lnTo>
                    <a:pt x="3228" y="814"/>
                  </a:lnTo>
                  <a:lnTo>
                    <a:pt x="3179" y="779"/>
                  </a:lnTo>
                  <a:lnTo>
                    <a:pt x="3130" y="793"/>
                  </a:lnTo>
                  <a:lnTo>
                    <a:pt x="3130" y="786"/>
                  </a:lnTo>
                  <a:lnTo>
                    <a:pt x="3151" y="751"/>
                  </a:lnTo>
                  <a:lnTo>
                    <a:pt x="3179" y="724"/>
                  </a:lnTo>
                  <a:lnTo>
                    <a:pt x="3172" y="696"/>
                  </a:lnTo>
                  <a:lnTo>
                    <a:pt x="3165" y="689"/>
                  </a:lnTo>
                  <a:lnTo>
                    <a:pt x="3081" y="675"/>
                  </a:lnTo>
                  <a:lnTo>
                    <a:pt x="3068" y="696"/>
                  </a:lnTo>
                  <a:lnTo>
                    <a:pt x="3033" y="689"/>
                  </a:lnTo>
                  <a:lnTo>
                    <a:pt x="3019" y="696"/>
                  </a:lnTo>
                  <a:lnTo>
                    <a:pt x="3005" y="682"/>
                  </a:lnTo>
                  <a:lnTo>
                    <a:pt x="2970" y="647"/>
                  </a:lnTo>
                  <a:lnTo>
                    <a:pt x="2921" y="619"/>
                  </a:lnTo>
                  <a:lnTo>
                    <a:pt x="2907" y="612"/>
                  </a:lnTo>
                  <a:lnTo>
                    <a:pt x="2914" y="577"/>
                  </a:lnTo>
                  <a:lnTo>
                    <a:pt x="2866" y="522"/>
                  </a:lnTo>
                  <a:lnTo>
                    <a:pt x="2803" y="577"/>
                  </a:lnTo>
                  <a:lnTo>
                    <a:pt x="2803" y="591"/>
                  </a:lnTo>
                  <a:lnTo>
                    <a:pt x="2768" y="591"/>
                  </a:lnTo>
                  <a:lnTo>
                    <a:pt x="2713" y="598"/>
                  </a:lnTo>
                  <a:lnTo>
                    <a:pt x="2692" y="633"/>
                  </a:lnTo>
                  <a:lnTo>
                    <a:pt x="2650" y="661"/>
                  </a:lnTo>
                  <a:lnTo>
                    <a:pt x="2629" y="689"/>
                  </a:lnTo>
                  <a:lnTo>
                    <a:pt x="2615" y="689"/>
                  </a:lnTo>
                  <a:lnTo>
                    <a:pt x="2490" y="710"/>
                  </a:lnTo>
                  <a:lnTo>
                    <a:pt x="2518" y="751"/>
                  </a:lnTo>
                  <a:lnTo>
                    <a:pt x="2594" y="793"/>
                  </a:lnTo>
                  <a:lnTo>
                    <a:pt x="2594" y="814"/>
                  </a:lnTo>
                  <a:lnTo>
                    <a:pt x="2574" y="821"/>
                  </a:lnTo>
                  <a:lnTo>
                    <a:pt x="2490" y="821"/>
                  </a:lnTo>
                </a:path>
              </a:pathLst>
            </a:custGeom>
            <a:solidFill>
              <a:srgbClr val="E84C22">
                <a:alpha val="74000"/>
              </a:srgbClr>
            </a:solidFill>
            <a:ln w="12700" cap="flat" cmpd="sng">
              <a:solidFill>
                <a:srgbClr val="F47B20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1E60"/>
                </a:solidFill>
                <a:latin typeface="Univers LT 47 CondensedLt" panose="02000406040000020003" pitchFamily="2" charset="0"/>
              </a:endParaRPr>
            </a:p>
          </p:txBody>
        </p:sp>
      </p:grpSp>
      <p:graphicFrame>
        <p:nvGraphicFramePr>
          <p:cNvPr id="11" name="Grafico 10">
            <a:extLst>
              <a:ext uri="{FF2B5EF4-FFF2-40B4-BE49-F238E27FC236}">
                <a16:creationId xmlns:a16="http://schemas.microsoft.com/office/drawing/2014/main" id="{C52E62A5-4833-964C-B425-2952696F6612}"/>
              </a:ext>
            </a:extLst>
          </p:cNvPr>
          <p:cNvGraphicFramePr>
            <a:graphicFrameLocks/>
          </p:cNvGraphicFramePr>
          <p:nvPr/>
        </p:nvGraphicFramePr>
        <p:xfrm>
          <a:off x="228959" y="1712694"/>
          <a:ext cx="8663582" cy="4194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340D7B0-C6D8-7DDB-5E1D-9D6FA2F63BF8}"/>
              </a:ext>
            </a:extLst>
          </p:cNvPr>
          <p:cNvSpPr/>
          <p:nvPr/>
        </p:nvSpPr>
        <p:spPr>
          <a:xfrm>
            <a:off x="9041131" y="1408733"/>
            <a:ext cx="2891472" cy="44112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001E60"/>
                </a:solidFill>
              </a:rPr>
              <a:t>Le persone affette da almeno due patologie croniche sono pari al </a:t>
            </a:r>
            <a:r>
              <a:rPr lang="it-IT" b="1" dirty="0">
                <a:solidFill>
                  <a:srgbClr val="001E60"/>
                </a:solidFill>
              </a:rPr>
              <a:t>18,2%</a:t>
            </a:r>
            <a:r>
              <a:rPr lang="it-IT" dirty="0">
                <a:solidFill>
                  <a:srgbClr val="001E60"/>
                </a:solidFill>
              </a:rPr>
              <a:t> della popolazione (</a:t>
            </a:r>
            <a:r>
              <a:rPr lang="it-IT" b="1" dirty="0">
                <a:solidFill>
                  <a:srgbClr val="001E60"/>
                </a:solidFill>
              </a:rPr>
              <a:t>-3 p.p. </a:t>
            </a:r>
            <a:r>
              <a:rPr lang="it-IT" dirty="0">
                <a:solidFill>
                  <a:srgbClr val="001E60"/>
                </a:solidFill>
              </a:rPr>
              <a:t>vs. 2010)</a:t>
            </a:r>
          </a:p>
          <a:p>
            <a:pPr marL="285750" indent="-285750">
              <a:spcBef>
                <a:spcPts val="600"/>
              </a:spcBef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001E60"/>
                </a:solidFill>
              </a:rPr>
              <a:t>Tuttavia, entro il 2050 l’invecchiamento della popolazione determinerà un incremento del numero di </a:t>
            </a:r>
            <a:r>
              <a:rPr lang="it-IT" b="1" dirty="0">
                <a:solidFill>
                  <a:srgbClr val="001E60"/>
                </a:solidFill>
              </a:rPr>
              <a:t>anziani non autosufficienti (+50%) </a:t>
            </a:r>
            <a:r>
              <a:rPr lang="it-IT" dirty="0">
                <a:solidFill>
                  <a:srgbClr val="001E60"/>
                </a:solidFill>
              </a:rPr>
              <a:t>e o affetti da </a:t>
            </a:r>
            <a:r>
              <a:rPr lang="it-IT" b="1" dirty="0">
                <a:solidFill>
                  <a:srgbClr val="001E60"/>
                </a:solidFill>
              </a:rPr>
              <a:t>almeno una patologia cronica (+32%)</a:t>
            </a:r>
          </a:p>
        </p:txBody>
      </p:sp>
    </p:spTree>
    <p:extLst>
      <p:ext uri="{BB962C8B-B14F-4D97-AF65-F5344CB8AC3E}">
        <p14:creationId xmlns:p14="http://schemas.microsoft.com/office/powerpoint/2010/main" val="1942777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F33C4-11FC-4E3C-32EB-2870896B2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445930-2E74-B7DB-9C4A-63F3313AD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483" y="206099"/>
            <a:ext cx="11330325" cy="553199"/>
          </a:xfrm>
        </p:spPr>
        <p:txBody>
          <a:bodyPr/>
          <a:lstStyle/>
          <a:p>
            <a:r>
              <a:rPr lang="it-IT" dirty="0"/>
              <a:t>…e l’evoluzione del sistema sanitario e assistenziale entro il 2050 potrà portare a nuove soluzioni per il benessere individuale e filiere industrial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87111C6-62C5-4407-1629-8BD06827B7AC}"/>
              </a:ext>
            </a:extLst>
          </p:cNvPr>
          <p:cNvSpPr txBox="1"/>
          <p:nvPr/>
        </p:nvSpPr>
        <p:spPr>
          <a:xfrm>
            <a:off x="6483938" y="1397989"/>
            <a:ext cx="44681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rgbClr val="001E60"/>
                </a:solidFill>
              </a:rPr>
              <a:t>Integrazione uomo-macchina per la soluzione di gravi patologie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3F3402AC-26DB-493C-F183-D0037DEBF3CA}"/>
              </a:ext>
            </a:extLst>
          </p:cNvPr>
          <p:cNvSpPr txBox="1"/>
          <p:nvPr/>
        </p:nvSpPr>
        <p:spPr>
          <a:xfrm>
            <a:off x="6683655" y="3790188"/>
            <a:ext cx="4068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rgbClr val="001E60"/>
                </a:solidFill>
              </a:rPr>
              <a:t>Assistenti umanoidi </a:t>
            </a:r>
            <a:br>
              <a:rPr lang="it-IT" dirty="0">
                <a:solidFill>
                  <a:srgbClr val="001E60"/>
                </a:solidFill>
              </a:rPr>
            </a:br>
            <a:r>
              <a:rPr lang="it-IT" dirty="0">
                <a:solidFill>
                  <a:srgbClr val="001E60"/>
                </a:solidFill>
              </a:rPr>
              <a:t>per la Terza Età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1C5D1DD-9880-62C9-C954-4AC4EC7B47D7}"/>
              </a:ext>
            </a:extLst>
          </p:cNvPr>
          <p:cNvSpPr txBox="1"/>
          <p:nvPr/>
        </p:nvSpPr>
        <p:spPr>
          <a:xfrm>
            <a:off x="1857517" y="1461489"/>
            <a:ext cx="2929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rgbClr val="001E60"/>
                </a:solidFill>
              </a:rPr>
              <a:t>Telemedicina evoluta</a:t>
            </a:r>
          </a:p>
        </p:txBody>
      </p:sp>
      <p:sp>
        <p:nvSpPr>
          <p:cNvPr id="15" name="CasellaDiTesto 201">
            <a:extLst>
              <a:ext uri="{FF2B5EF4-FFF2-40B4-BE49-F238E27FC236}">
                <a16:creationId xmlns:a16="http://schemas.microsoft.com/office/drawing/2014/main" id="{DA2B4A80-1F8B-6F15-D7BA-B02CBF614B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7343" y="6493366"/>
            <a:ext cx="7293230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fonti varie, 2025</a:t>
            </a:r>
          </a:p>
        </p:txBody>
      </p:sp>
      <p:pic>
        <p:nvPicPr>
          <p:cNvPr id="3074" name="Picture 2" descr="IoT and Healthcare: Examining Innovation on the Future of Medicine">
            <a:extLst>
              <a:ext uri="{FF2B5EF4-FFF2-40B4-BE49-F238E27FC236}">
                <a16:creationId xmlns:a16="http://schemas.microsoft.com/office/drawing/2014/main" id="{0806C4D8-8225-19B5-B5BC-9B7F5D3A1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283" y="1867035"/>
            <a:ext cx="3675634" cy="1932672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8A1EFD5E-B146-060E-CA65-B86B5701EB76}"/>
              </a:ext>
            </a:extLst>
          </p:cNvPr>
          <p:cNvSpPr txBox="1"/>
          <p:nvPr/>
        </p:nvSpPr>
        <p:spPr>
          <a:xfrm>
            <a:off x="1157800" y="3790188"/>
            <a:ext cx="4328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rgbClr val="001E60"/>
                </a:solidFill>
              </a:rPr>
              <a:t>Ricostruzione di parti del corpo con stampa 3D e cellule staminali (</a:t>
            </a:r>
            <a:r>
              <a:rPr lang="it-IT" i="1" dirty="0" err="1">
                <a:solidFill>
                  <a:srgbClr val="001E60"/>
                </a:solidFill>
              </a:rPr>
              <a:t>bioprinting</a:t>
            </a:r>
            <a:r>
              <a:rPr lang="it-IT" dirty="0">
                <a:solidFill>
                  <a:srgbClr val="001E60"/>
                </a:solidFill>
              </a:rPr>
              <a:t>)</a:t>
            </a:r>
          </a:p>
        </p:txBody>
      </p:sp>
      <p:pic>
        <p:nvPicPr>
          <p:cNvPr id="3076" name="Picture 4" descr="I progetti di bioprinting: organi e tessuti stampati in 3D – 3Dnatives">
            <a:extLst>
              <a:ext uri="{FF2B5EF4-FFF2-40B4-BE49-F238E27FC236}">
                <a16:creationId xmlns:a16="http://schemas.microsoft.com/office/drawing/2014/main" id="{4B5EDAB1-01EE-0377-0E3F-8E42DFFE8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314" y="4476427"/>
            <a:ext cx="3581573" cy="2005681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Professor Nadia Thalmann (right) shaking hands with Nadine, a robot made in her likeness at a Singapore university.">
            <a:extLst>
              <a:ext uri="{FF2B5EF4-FFF2-40B4-BE49-F238E27FC236}">
                <a16:creationId xmlns:a16="http://schemas.microsoft.com/office/drawing/2014/main" id="{3AD4C990-6E3E-EFF1-C2FD-E65F9B3A9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8299" y="4389125"/>
            <a:ext cx="3139474" cy="2092983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Università Bologna. Arrivano le protesi robotiche azionate dal pensiero -  Labozeta">
            <a:extLst>
              <a:ext uri="{FF2B5EF4-FFF2-40B4-BE49-F238E27FC236}">
                <a16:creationId xmlns:a16="http://schemas.microsoft.com/office/drawing/2014/main" id="{D653FC0F-A5C8-3108-0605-835F54C5C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561" y="2035232"/>
            <a:ext cx="3528950" cy="176447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E195EB29-E7B9-A47A-25FD-E0E8D15CBEFF}"/>
              </a:ext>
            </a:extLst>
          </p:cNvPr>
          <p:cNvSpPr txBox="1"/>
          <p:nvPr/>
        </p:nvSpPr>
        <p:spPr>
          <a:xfrm>
            <a:off x="370703" y="1062891"/>
            <a:ext cx="11417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001E60"/>
                </a:solidFill>
              </a:rPr>
              <a:t>Alcune anticipazioni di un “futuro possibile” legato alla longevità e al benessere dell’individuo</a:t>
            </a:r>
          </a:p>
        </p:txBody>
      </p:sp>
    </p:spTree>
    <p:extLst>
      <p:ext uri="{BB962C8B-B14F-4D97-AF65-F5344CB8AC3E}">
        <p14:creationId xmlns:p14="http://schemas.microsoft.com/office/powerpoint/2010/main" val="36507363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E7B11-6BCB-40D7-2C3E-B009FEC51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321A9C-8F68-63C1-1EAF-940171C5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3" y="206099"/>
            <a:ext cx="11379820" cy="553199"/>
          </a:xfrm>
        </p:spPr>
        <p:txBody>
          <a:bodyPr/>
          <a:lstStyle/>
          <a:p>
            <a:r>
              <a:rPr lang="it-IT" sz="2800" dirty="0">
                <a:solidFill>
                  <a:srgbClr val="C00000"/>
                </a:solidFill>
              </a:rPr>
              <a:t>COSA FARE:</a:t>
            </a:r>
            <a:r>
              <a:rPr lang="it-IT" sz="2800" dirty="0"/>
              <a:t> il progetto-bandiera “Toscana, regione della longevità e del benessere”</a:t>
            </a:r>
            <a:endParaRPr lang="it-IT" sz="2800" b="1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D910EAB-6BE9-F65B-98BF-1611EB45E0A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7090" y="1922400"/>
            <a:ext cx="10776044" cy="4069080"/>
          </a:xfrm>
        </p:spPr>
        <p:txBody>
          <a:bodyPr/>
          <a:lstStyle/>
          <a:p>
            <a:pPr marL="9720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2000" b="1" dirty="0">
                <a:cs typeface="Times New Roman" panose="02020603050405020304" pitchFamily="18" charset="0"/>
              </a:rPr>
              <a:t>AZIONI-CHIAVE:</a:t>
            </a:r>
          </a:p>
          <a:p>
            <a:pPr marL="97200" indent="0" algn="just">
              <a:spcBef>
                <a:spcPts val="600"/>
              </a:spcBef>
              <a:spcAft>
                <a:spcPts val="400"/>
              </a:spcAft>
              <a:buNone/>
            </a:pP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Piano per </a:t>
            </a:r>
            <a:r>
              <a:rPr lang="it-IT" sz="200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Smart </a:t>
            </a:r>
            <a:r>
              <a:rPr lang="it-IT" sz="2000" b="1" i="1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Villages</a:t>
            </a:r>
            <a:r>
              <a:rPr lang="it-IT" sz="200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per </a:t>
            </a:r>
            <a:r>
              <a:rPr lang="it-IT" sz="200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over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65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e Città e Comunità della Longevità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: pianificazione di nuovi quartieri urbani pensati in logica “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age-friendly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” per l’accessibilità, la socializzazione e il benessere degli anziani, con abitazioni domotiche, spazi verdi e servizi sanitari e di TPL integrati, creazione di reti di prossimità e 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co-housing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 intergenerazionale</a:t>
            </a:r>
          </a:p>
          <a:p>
            <a:pPr marL="97200" indent="0" algn="just">
              <a:spcBef>
                <a:spcPts val="600"/>
              </a:spcBef>
              <a:spcAft>
                <a:spcPts val="400"/>
              </a:spcAft>
              <a:buNone/>
            </a:pP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Creazione di un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Distretto della Medicina Preventiva e Personalizzata 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con “</a:t>
            </a:r>
            <a:r>
              <a:rPr lang="it-IT" sz="2000" i="1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Longevity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 Clinics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” (centri sanitari specializzati nella prevenzione dell’invecchiamento, che combinano nutrizione, genomica, IA e medicina personalizzata) e applicazione diffusa della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Telemedicina Avanzata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 (monitoraggio da remoto con sensori e AI per prevenire malattie croniche e riorientare gli stili di vita; uso delle biotecnologie per rallentare il declino cellulare e migliorare la qualità della vita)</a:t>
            </a:r>
          </a:p>
          <a:p>
            <a:pPr marL="97200" indent="0" algn="just">
              <a:spcBef>
                <a:spcPts val="600"/>
              </a:spcBef>
              <a:spcAft>
                <a:spcPts val="400"/>
              </a:spcAft>
              <a:buNone/>
            </a:pP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Sviluppo di una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filiera </a:t>
            </a:r>
            <a:r>
              <a:rPr lang="it-IT" sz="200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high-tech 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su IA e Robotica 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per sviluppare protesi artificiali e 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robot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 assistivi e sistemi IA per la compagnia e il supporto alla Terza Età</a:t>
            </a:r>
          </a:p>
          <a:p>
            <a:pPr marL="97200" indent="0" algn="just">
              <a:spcBef>
                <a:spcPts val="600"/>
              </a:spcBef>
              <a:spcAft>
                <a:spcPts val="400"/>
              </a:spcAft>
              <a:buNone/>
            </a:pP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Creazione di un “</a:t>
            </a:r>
            <a:r>
              <a:rPr lang="it-IT" sz="2000" b="1" i="1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Tuscany</a:t>
            </a:r>
            <a:r>
              <a:rPr lang="it-IT" sz="200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 AI Health Lab</a:t>
            </a:r>
            <a:r>
              <a:rPr lang="it-IT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it-IT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, centro di ricerca sulla relazione tra nutrizione, stili di vita, sport e longevità, in collaborazione con ospedali, università, centri sportivi e aziende </a:t>
            </a:r>
            <a:r>
              <a:rPr lang="it-IT" sz="20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biotech</a:t>
            </a:r>
            <a:endParaRPr lang="it-IT" sz="2000" b="1" i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73E4BBA0-6E20-8893-C71A-D8F56A9D3AAA}"/>
              </a:ext>
            </a:extLst>
          </p:cNvPr>
          <p:cNvSpPr/>
          <p:nvPr/>
        </p:nvSpPr>
        <p:spPr>
          <a:xfrm>
            <a:off x="403314" y="991042"/>
            <a:ext cx="11380700" cy="9131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200" i="1" noProof="0" dirty="0">
                <a:solidFill>
                  <a:srgbClr val="001E60"/>
                </a:solidFill>
              </a:rPr>
              <a:t>Trasformare la Toscana in un </a:t>
            </a:r>
            <a:r>
              <a:rPr lang="it-IT" sz="2200" b="1" i="1" noProof="0" dirty="0">
                <a:solidFill>
                  <a:srgbClr val="001E60"/>
                </a:solidFill>
              </a:rPr>
              <a:t>hub della longevità</a:t>
            </a:r>
            <a:r>
              <a:rPr lang="it-IT" sz="2200" i="1" noProof="0" dirty="0">
                <a:solidFill>
                  <a:srgbClr val="001E60"/>
                </a:solidFill>
              </a:rPr>
              <a:t> in grado di attrarre investimenti, </a:t>
            </a:r>
            <a:br>
              <a:rPr lang="it-IT" sz="2200" i="1" noProof="0" dirty="0">
                <a:solidFill>
                  <a:srgbClr val="001E60"/>
                </a:solidFill>
              </a:rPr>
            </a:br>
            <a:r>
              <a:rPr lang="it-IT" sz="2200" i="1" noProof="0" dirty="0">
                <a:solidFill>
                  <a:srgbClr val="001E60"/>
                </a:solidFill>
              </a:rPr>
              <a:t>competenze e residenti/turisti del benessere e di fare leva sulla qualità del vivere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72DD4013-BDED-6499-4B07-215C29D46B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5888" y="6512995"/>
            <a:ext cx="8488362" cy="277812"/>
          </a:xfrm>
        </p:spPr>
        <p:txBody>
          <a:bodyPr/>
          <a:lstStyle/>
          <a:p>
            <a:r>
              <a:rPr lang="it-IT" dirty="0"/>
              <a:t>Fonte: elaborazione TEHA Group</a:t>
            </a:r>
            <a:r>
              <a:rPr lang="en-US" dirty="0"/>
              <a:t>, 2025</a:t>
            </a:r>
            <a:endParaRPr lang="it-IT" dirty="0"/>
          </a:p>
        </p:txBody>
      </p:sp>
      <p:pic>
        <p:nvPicPr>
          <p:cNvPr id="1026" name="Picture 2" descr="Village ">
            <a:extLst>
              <a:ext uri="{FF2B5EF4-FFF2-40B4-BE49-F238E27FC236}">
                <a16:creationId xmlns:a16="http://schemas.microsoft.com/office/drawing/2014/main" id="{B6F21E83-5010-F3C7-B5FC-3C9E88E96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43" y="2399269"/>
            <a:ext cx="828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edict ">
            <a:extLst>
              <a:ext uri="{FF2B5EF4-FFF2-40B4-BE49-F238E27FC236}">
                <a16:creationId xmlns:a16="http://schemas.microsoft.com/office/drawing/2014/main" id="{CCDCC373-3158-B74F-2E2A-09D5EDAAE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43" y="3683443"/>
            <a:ext cx="828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rogramming ">
            <a:extLst>
              <a:ext uri="{FF2B5EF4-FFF2-40B4-BE49-F238E27FC236}">
                <a16:creationId xmlns:a16="http://schemas.microsoft.com/office/drawing/2014/main" id="{FEC20BBF-D014-71AD-2C52-EF15362E05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57" y="4988667"/>
            <a:ext cx="636373" cy="63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ab equipment ">
            <a:extLst>
              <a:ext uri="{FF2B5EF4-FFF2-40B4-BE49-F238E27FC236}">
                <a16:creationId xmlns:a16="http://schemas.microsoft.com/office/drawing/2014/main" id="{EF277A2D-82A0-5E3C-A95B-DAEB216E5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00" y="5650712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43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AD40951D5240A4F9C16688C7591E422" ma:contentTypeVersion="12" ma:contentTypeDescription="Creare un nuovo documento." ma:contentTypeScope="" ma:versionID="3aa422541a12c46d92c996de59a8ba03">
  <xsd:schema xmlns:xsd="http://www.w3.org/2001/XMLSchema" xmlns:xs="http://www.w3.org/2001/XMLSchema" xmlns:p="http://schemas.microsoft.com/office/2006/metadata/properties" xmlns:ns2="c328db12-01ec-4ada-95f3-b487451528f5" xmlns:ns3="af28a2bd-6229-4b62-987d-399a1830ca9f" targetNamespace="http://schemas.microsoft.com/office/2006/metadata/properties" ma:root="true" ma:fieldsID="bfe28fe55486a2d612fd6d54838b8b85" ns2:_="" ns3:_="">
    <xsd:import namespace="c328db12-01ec-4ada-95f3-b487451528f5"/>
    <xsd:import namespace="af28a2bd-6229-4b62-987d-399a1830ca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28db12-01ec-4ada-95f3-b487451528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Tag immagine" ma:readOnly="false" ma:fieldId="{5cf76f15-5ced-4ddc-b409-7134ff3c332f}" ma:taxonomyMulti="true" ma:sspId="10320e9c-7d2a-4015-8f25-a0b091575f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28a2bd-6229-4b62-987d-399a1830ca9f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c4da9be-16cc-434f-ae9b-cfbd14757307}" ma:internalName="TaxCatchAll" ma:showField="CatchAllData" ma:web="af28a2bd-6229-4b62-987d-399a1830ca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328db12-01ec-4ada-95f3-b487451528f5">
      <Terms xmlns="http://schemas.microsoft.com/office/infopath/2007/PartnerControls"/>
    </lcf76f155ced4ddcb4097134ff3c332f>
    <TaxCatchAll xmlns="af28a2bd-6229-4b62-987d-399a1830ca9f" xsi:nil="true"/>
  </documentManagement>
</p:properties>
</file>

<file path=customXml/itemProps1.xml><?xml version="1.0" encoding="utf-8"?>
<ds:datastoreItem xmlns:ds="http://schemas.openxmlformats.org/officeDocument/2006/customXml" ds:itemID="{B446DBC6-66EC-4DBB-AA40-4397A173D8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E4D454-F594-435A-82E0-33DA42B399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28db12-01ec-4ada-95f3-b487451528f5"/>
    <ds:schemaRef ds:uri="af28a2bd-6229-4b62-987d-399a1830ca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2BC5C7-7DED-4E53-A2EE-1581A4166C74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9f90dfda-df3a-48d3-9036-bf7d07b9cee1"/>
    <ds:schemaRef ds:uri="http://schemas.microsoft.com/office/infopath/2007/PartnerControls"/>
    <ds:schemaRef ds:uri="http://purl.org/dc/terms/"/>
    <ds:schemaRef ds:uri="http://purl.org/dc/dcmitype/"/>
    <ds:schemaRef ds:uri="http://schemas.microsoft.com/office/2006/metadata/properties"/>
    <ds:schemaRef ds:uri="afa387b0-4ee5-47db-9e3f-981327417c84"/>
    <ds:schemaRef ds:uri="c328db12-01ec-4ada-95f3-b487451528f5"/>
    <ds:schemaRef ds:uri="af28a2bd-6229-4b62-987d-399a1830ca9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6</TotalTime>
  <Words>1865</Words>
  <Application>Microsoft Office PowerPoint</Application>
  <PresentationFormat>Widescreen</PresentationFormat>
  <Paragraphs>121</Paragraphs>
  <Slides>10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5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32" baseType="lpstr">
      <vt:lpstr>Arial</vt:lpstr>
      <vt:lpstr>Arial Nova Cond</vt:lpstr>
      <vt:lpstr>Calibri</vt:lpstr>
      <vt:lpstr>Courier New</vt:lpstr>
      <vt:lpstr>Futura PT Light</vt:lpstr>
      <vt:lpstr>Red Hat Display</vt:lpstr>
      <vt:lpstr>Source Sans Pro</vt:lpstr>
      <vt:lpstr>Source Sans Pro (Corpo)</vt:lpstr>
      <vt:lpstr>Source Sans Pro Semibold</vt:lpstr>
      <vt:lpstr>Source Sans Pro Semibold</vt:lpstr>
      <vt:lpstr>Tahoma</vt:lpstr>
      <vt:lpstr>Tamigos</vt:lpstr>
      <vt:lpstr>Times New Roman</vt:lpstr>
      <vt:lpstr>Univers LT 47 CondensedLt</vt:lpstr>
      <vt:lpstr>Wingdings</vt:lpstr>
      <vt:lpstr>Tema di Office</vt:lpstr>
      <vt:lpstr>2_master ambrosetti</vt:lpstr>
      <vt:lpstr>3_master ambrosetti</vt:lpstr>
      <vt:lpstr>2_Tema di Office</vt:lpstr>
      <vt:lpstr>5_master ambrosetti</vt:lpstr>
      <vt:lpstr>6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nche la Toscana non sarà immune a questo processo di decrescita della popolazione e alle conseguenze dell’“inverno demografico”…</vt:lpstr>
      <vt:lpstr>…e la quota di popolazione over 65 anni arriverà a pesare per più di un terzo del totale entro il 2050 (+8,4 p.p. vs. 2023)</vt:lpstr>
      <vt:lpstr>Presentazione standard di PowerPoint</vt:lpstr>
      <vt:lpstr>…e l’evoluzione del sistema sanitario e assistenziale entro il 2050 potrà portare a nuove soluzioni per il benessere individuale e filiere industriali</vt:lpstr>
      <vt:lpstr>COSA FARE: il progetto-bandiera “Toscana, regione della longevità e del benessere”</vt:lpstr>
      <vt:lpstr>Presentazione standard di PowerPoint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Pio Parma</cp:lastModifiedBy>
  <cp:revision>3</cp:revision>
  <cp:lastPrinted>2022-09-13T12:26:25Z</cp:lastPrinted>
  <dcterms:created xsi:type="dcterms:W3CDTF">2021-06-30T08:52:27Z</dcterms:created>
  <dcterms:modified xsi:type="dcterms:W3CDTF">2025-06-25T00:4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D40951D5240A4F9C16688C7591E422</vt:lpwstr>
  </property>
  <property fmtid="{D5CDD505-2E9C-101B-9397-08002B2CF9AE}" pid="3" name="MediaServiceImageTags">
    <vt:lpwstr/>
  </property>
</Properties>
</file>